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6.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2.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3.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 id="2147483772" r:id="rId5"/>
    <p:sldMasterId id="2147483747" r:id="rId6"/>
    <p:sldMasterId id="2147483737" r:id="rId7"/>
    <p:sldMasterId id="2147483699" r:id="rId8"/>
  </p:sldMasterIdLst>
  <p:notesMasterIdLst>
    <p:notesMasterId r:id="rId47"/>
  </p:notesMasterIdLst>
  <p:sldIdLst>
    <p:sldId id="401" r:id="rId9"/>
    <p:sldId id="1448943384" r:id="rId10"/>
    <p:sldId id="3837" r:id="rId11"/>
    <p:sldId id="1448943385" r:id="rId12"/>
    <p:sldId id="1448943347" r:id="rId13"/>
    <p:sldId id="1448943389" r:id="rId14"/>
    <p:sldId id="1448943390" r:id="rId15"/>
    <p:sldId id="1448943395" r:id="rId16"/>
    <p:sldId id="1448943391" r:id="rId17"/>
    <p:sldId id="1448943398" r:id="rId18"/>
    <p:sldId id="1448943372" r:id="rId19"/>
    <p:sldId id="1448943362" r:id="rId20"/>
    <p:sldId id="1448943392" r:id="rId21"/>
    <p:sldId id="1448943396" r:id="rId22"/>
    <p:sldId id="1448943357" r:id="rId23"/>
    <p:sldId id="1448943356" r:id="rId24"/>
    <p:sldId id="1448943371" r:id="rId25"/>
    <p:sldId id="1448943358" r:id="rId26"/>
    <p:sldId id="1448943359" r:id="rId27"/>
    <p:sldId id="1448943360" r:id="rId28"/>
    <p:sldId id="1448943393" r:id="rId29"/>
    <p:sldId id="1448943363" r:id="rId30"/>
    <p:sldId id="1448943397" r:id="rId31"/>
    <p:sldId id="1448943375" r:id="rId32"/>
    <p:sldId id="1448943376" r:id="rId33"/>
    <p:sldId id="257" r:id="rId34"/>
    <p:sldId id="1448943399" r:id="rId35"/>
    <p:sldId id="1448943380" r:id="rId36"/>
    <p:sldId id="1448943402" r:id="rId37"/>
    <p:sldId id="1448943374" r:id="rId38"/>
    <p:sldId id="1448943403" r:id="rId39"/>
    <p:sldId id="1448943404" r:id="rId40"/>
    <p:sldId id="1448943406" r:id="rId41"/>
    <p:sldId id="1448943407" r:id="rId42"/>
    <p:sldId id="1448943382" r:id="rId43"/>
    <p:sldId id="1448943348" r:id="rId44"/>
    <p:sldId id="1448943409" r:id="rId45"/>
    <p:sldId id="1448943408" r:id="rId46"/>
  </p:sldIdLst>
  <p:sldSz cx="12192000" cy="6858000"/>
  <p:notesSz cx="6858000" cy="91440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672" userDrawn="1">
          <p15:clr>
            <a:srgbClr val="F26B43"/>
          </p15:clr>
        </p15:guide>
        <p15:guide id="4" pos="7232" userDrawn="1">
          <p15:clr>
            <a:srgbClr val="F26B43"/>
          </p15:clr>
        </p15:guide>
        <p15:guide id="5" pos="448" userDrawn="1">
          <p15:clr>
            <a:srgbClr val="F26B43"/>
          </p15:clr>
        </p15:guide>
        <p15:guide id="6" orient="horz" pos="3936" userDrawn="1">
          <p15:clr>
            <a:srgbClr val="F26B43"/>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A3C3"/>
    <a:srgbClr val="D9D9D9"/>
    <a:srgbClr val="9AA4C3"/>
    <a:srgbClr val="2B43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455CFA1-72E7-461B-97A8-4E6DA3FBB4D4}" v="1186" dt="2024-07-30T13:52:25.5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1" d="100"/>
          <a:sy n="111" d="100"/>
        </p:scale>
        <p:origin x="398" y="86"/>
      </p:cViewPr>
      <p:guideLst>
        <p:guide orient="horz" pos="672"/>
        <p:guide pos="7232"/>
        <p:guide pos="448"/>
        <p:guide orient="horz" pos="393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BB0115-B3E2-BA45-BF9F-6C671EDE27E0}" type="datetimeFigureOut">
              <a:rPr lang="en-US" smtClean="0"/>
              <a:t>7/3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7F65DC-21A4-A44C-A422-C54FB8ACB9BC}" type="slidenum">
              <a:rPr lang="en-US" smtClean="0"/>
              <a:t>‹#›</a:t>
            </a:fld>
            <a:endParaRPr lang="en-US"/>
          </a:p>
        </p:txBody>
      </p:sp>
    </p:spTree>
    <p:extLst>
      <p:ext uri="{BB962C8B-B14F-4D97-AF65-F5344CB8AC3E}">
        <p14:creationId xmlns:p14="http://schemas.microsoft.com/office/powerpoint/2010/main" val="32351937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30 July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2350273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7F65DC-21A4-A44C-A422-C54FB8ACB9BC}" type="slidenum">
              <a:rPr lang="en-US" smtClean="0"/>
              <a:t>7</a:t>
            </a:fld>
            <a:endParaRPr lang="en-US"/>
          </a:p>
        </p:txBody>
      </p:sp>
    </p:spTree>
    <p:extLst>
      <p:ext uri="{BB962C8B-B14F-4D97-AF65-F5344CB8AC3E}">
        <p14:creationId xmlns:p14="http://schemas.microsoft.com/office/powerpoint/2010/main" val="8050799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7F65DC-21A4-A44C-A422-C54FB8ACB9BC}" type="slidenum">
              <a:rPr lang="en-US" smtClean="0"/>
              <a:t>27</a:t>
            </a:fld>
            <a:endParaRPr lang="en-US"/>
          </a:p>
        </p:txBody>
      </p:sp>
    </p:spTree>
    <p:extLst>
      <p:ext uri="{BB962C8B-B14F-4D97-AF65-F5344CB8AC3E}">
        <p14:creationId xmlns:p14="http://schemas.microsoft.com/office/powerpoint/2010/main" val="17046969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7.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8.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5.xml"/><Relationship Id="rId1" Type="http://schemas.openxmlformats.org/officeDocument/2006/relationships/tags" Target="../tags/tag36.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Full">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B7799DB-1CF1-EA2D-0E04-588B78DE6FC4}"/>
              </a:ext>
            </a:extLst>
          </p:cNvPr>
          <p:cNvGraphicFramePr>
            <a:graphicFrameLocks noChangeAspect="1"/>
          </p:cNvGraphicFramePr>
          <p:nvPr userDrawn="1">
            <p:custDataLst>
              <p:tags r:id="rId1"/>
            </p:custDataLst>
            <p:extLst>
              <p:ext uri="{D42A27DB-BD31-4B8C-83A1-F6EECF244321}">
                <p14:modId xmlns:p14="http://schemas.microsoft.com/office/powerpoint/2010/main" val="1032148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B7799DB-1CF1-EA2D-0E04-588B78DE6F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D35B6B5-9369-6547-88DB-A73F146F4A9F}"/>
              </a:ext>
            </a:extLst>
          </p:cNvPr>
          <p:cNvSpPr/>
          <p:nvPr userDrawn="1"/>
        </p:nvSpPr>
        <p:spPr>
          <a:xfrm>
            <a:off x="0" y="0"/>
            <a:ext cx="12192000" cy="624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sp>
        <p:nvSpPr>
          <p:cNvPr id="2" name="Title 1"/>
          <p:cNvSpPr>
            <a:spLocks noGrp="1"/>
          </p:cNvSpPr>
          <p:nvPr>
            <p:ph type="title" hasCustomPrompt="1"/>
          </p:nvPr>
        </p:nvSpPr>
        <p:spPr>
          <a:xfrm>
            <a:off x="355600" y="457200"/>
            <a:ext cx="8940800" cy="631263"/>
          </a:xfrm>
          <a:prstGeom prst="rect">
            <a:avLst/>
          </a:prstGeom>
        </p:spPr>
        <p:txBody>
          <a:bodyPr vert="horz" wrap="square" lIns="0" tIns="0" rIns="0" bIns="0" anchor="t" anchorCtr="0">
            <a:spAutoFit/>
          </a:bodyPr>
          <a:lstStyle>
            <a:lvl1pPr marL="0" indent="0" algn="l">
              <a:lnSpc>
                <a:spcPts val="4800"/>
              </a:lnSpc>
              <a:spcBef>
                <a:spcPts val="1000"/>
              </a:spcBef>
              <a:spcAft>
                <a:spcPts val="0"/>
              </a:spcAft>
              <a:defRPr sz="4800" b="1" i="0" u="none" kern="1200" spc="0">
                <a:solidFill>
                  <a:schemeClr val="bg1">
                    <a:lumMod val="100000"/>
                  </a:schemeClr>
                </a:solidFill>
                <a:latin typeface="+mn-lt"/>
                <a:cs typeface="Arial" panose="020B0604020202020204" pitchFamily="34" charset="0"/>
              </a:defRPr>
            </a:lvl1pPr>
          </a:lstStyle>
          <a:p>
            <a:pPr lvl="0"/>
            <a:r>
              <a:rPr lang="en-US"/>
              <a:t>Presentation Title</a:t>
            </a:r>
          </a:p>
        </p:txBody>
      </p:sp>
      <p:sp>
        <p:nvSpPr>
          <p:cNvPr id="14" name="Text Placeholder 11">
            <a:extLst>
              <a:ext uri="{FF2B5EF4-FFF2-40B4-BE49-F238E27FC236}">
                <a16:creationId xmlns:a16="http://schemas.microsoft.com/office/drawing/2014/main" id="{9D143BC4-DE2A-5243-82B7-F0FA2F32842D}"/>
              </a:ext>
            </a:extLst>
          </p:cNvPr>
          <p:cNvSpPr>
            <a:spLocks noGrp="1"/>
          </p:cNvSpPr>
          <p:nvPr>
            <p:ph type="body" sz="quarter" idx="12" hasCustomPrompt="1"/>
          </p:nvPr>
        </p:nvSpPr>
        <p:spPr>
          <a:xfrm>
            <a:off x="355600" y="3276600"/>
            <a:ext cx="8940800" cy="914400"/>
          </a:xfrm>
          <a:prstGeom prst="rect">
            <a:avLst/>
          </a:prstGeom>
        </p:spPr>
        <p:txBody>
          <a:bodyPr lIns="0" tIns="0" rIns="0" bIns="0" anchor="t"/>
          <a:lstStyle>
            <a:lvl1pPr marL="0" indent="0">
              <a:buNone/>
              <a:defRPr sz="1800" b="0" i="0">
                <a:solidFill>
                  <a:schemeClr val="bg1"/>
                </a:solidFill>
                <a:latin typeface="+mn-lt"/>
                <a:cs typeface="Arial" panose="020B0604020202020204" pitchFamily="34" charset="0"/>
              </a:defRPr>
            </a:lvl1pPr>
          </a:lstStyle>
          <a:p>
            <a:pPr lvl="0"/>
            <a:r>
              <a:rPr lang="en-US"/>
              <a:t>Presenter Name</a:t>
            </a:r>
          </a:p>
        </p:txBody>
      </p:sp>
      <p:sp>
        <p:nvSpPr>
          <p:cNvPr id="15" name="Text Placeholder 11">
            <a:extLst>
              <a:ext uri="{FF2B5EF4-FFF2-40B4-BE49-F238E27FC236}">
                <a16:creationId xmlns:a16="http://schemas.microsoft.com/office/drawing/2014/main" id="{36D5DC83-3584-2246-B98D-452E9D836F5C}"/>
              </a:ext>
            </a:extLst>
          </p:cNvPr>
          <p:cNvSpPr>
            <a:spLocks noGrp="1"/>
          </p:cNvSpPr>
          <p:nvPr>
            <p:ph type="body" sz="quarter" idx="13" hasCustomPrompt="1"/>
          </p:nvPr>
        </p:nvSpPr>
        <p:spPr>
          <a:xfrm>
            <a:off x="355600" y="1086117"/>
            <a:ext cx="8940800" cy="1176091"/>
          </a:xfrm>
          <a:prstGeom prst="rect">
            <a:avLst/>
          </a:prstGeom>
        </p:spPr>
        <p:txBody>
          <a:bodyPr lIns="0" tIns="0" rIns="0" bIns="0" anchor="t">
            <a:spAutoFit/>
          </a:bodyPr>
          <a:lstStyle>
            <a:lvl1pPr marL="0" indent="0">
              <a:lnSpc>
                <a:spcPts val="4800"/>
              </a:lnSpc>
              <a:buNone/>
              <a:defRPr sz="2800" b="1" i="0">
                <a:solidFill>
                  <a:schemeClr val="tx2">
                    <a:lumMod val="20000"/>
                    <a:lumOff val="80000"/>
                  </a:schemeClr>
                </a:solidFill>
                <a:latin typeface="+mn-lt"/>
                <a:cs typeface="Arial" panose="020B0604020202020204" pitchFamily="34" charset="0"/>
              </a:defRPr>
            </a:lvl1pPr>
          </a:lstStyle>
          <a:p>
            <a:pPr lvl="0"/>
            <a:r>
              <a:rPr lang="en-US"/>
              <a:t>Align Top Of Sub-title To Bottom Of Presentation Title</a:t>
            </a:r>
          </a:p>
        </p:txBody>
      </p:sp>
    </p:spTree>
    <p:extLst>
      <p:ext uri="{BB962C8B-B14F-4D97-AF65-F5344CB8AC3E}">
        <p14:creationId xmlns:p14="http://schemas.microsoft.com/office/powerpoint/2010/main" val="3715115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CE03954-D815-BA3D-F48D-C939EF0B8A31}"/>
              </a:ext>
            </a:extLst>
          </p:cNvPr>
          <p:cNvGraphicFramePr>
            <a:graphicFrameLocks noChangeAspect="1"/>
          </p:cNvGraphicFramePr>
          <p:nvPr userDrawn="1">
            <p:custDataLst>
              <p:tags r:id="rId1"/>
            </p:custDataLst>
            <p:extLst>
              <p:ext uri="{D42A27DB-BD31-4B8C-83A1-F6EECF244321}">
                <p14:modId xmlns:p14="http://schemas.microsoft.com/office/powerpoint/2010/main" val="360422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CCE03954-D815-BA3D-F48D-C939EF0B8A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521711-3A75-3743-A297-695587AC5445}"/>
              </a:ext>
            </a:extLst>
          </p:cNvPr>
          <p:cNvSpPr>
            <a:spLocks noGrp="1"/>
          </p:cNvSpPr>
          <p:nvPr>
            <p:ph type="body" sz="quarter" idx="11" hasCustomPrompt="1"/>
          </p:nvPr>
        </p:nvSpPr>
        <p:spPr>
          <a:xfrm>
            <a:off x="355600" y="1447800"/>
            <a:ext cx="11125198" cy="3886200"/>
          </a:xfrm>
          <a:prstGeom prst="rect">
            <a:avLst/>
          </a:prstGeom>
        </p:spPr>
        <p:txBody>
          <a:bodyPr lIns="0" tIns="0" rIns="0" bIns="0" anchor="t" anchorCtr="0">
            <a:normAutofit/>
          </a:bodyPr>
          <a:lstStyle>
            <a:lvl1pPr>
              <a:defRPr sz="2400" b="0" i="0">
                <a:latin typeface="+mn-lt"/>
                <a:cs typeface="Arial" panose="020B0604020202020204" pitchFamily="34" charset="0"/>
              </a:defRPr>
            </a:lvl1pPr>
            <a:lvl2pPr marL="685800" indent="-228600">
              <a:buFont typeface="Courier New" panose="02070309020205020404" pitchFamily="49" charset="0"/>
              <a:buChar char="o"/>
              <a:defRPr sz="2400" b="0" i="0">
                <a:latin typeface="+mn-lt"/>
                <a:cs typeface="Arial" panose="020B0604020202020204" pitchFamily="34" charset="0"/>
              </a:defRPr>
            </a:lvl2pPr>
            <a:lvl3pPr marL="1143000" indent="-228600">
              <a:buFont typeface="Courier New" panose="02070309020205020404" pitchFamily="49" charset="0"/>
              <a:buChar char="o"/>
              <a:defRPr sz="2400" b="0" i="0">
                <a:latin typeface="+mn-lt"/>
                <a:cs typeface="Arial" panose="020B0604020202020204" pitchFamily="34" charset="0"/>
              </a:defRPr>
            </a:lvl3pPr>
          </a:lstStyle>
          <a:p>
            <a:pPr lvl="0"/>
            <a:r>
              <a:rPr lang="en-US"/>
              <a:t>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7908ECD7-69A0-0E5D-90B5-9150D6B3579F}"/>
              </a:ext>
            </a:extLst>
          </p:cNvPr>
          <p:cNvSpPr>
            <a:spLocks noGrp="1"/>
          </p:cNvSpPr>
          <p:nvPr>
            <p:ph type="title" hasCustomPrompt="1"/>
          </p:nvPr>
        </p:nvSpPr>
        <p:spPr>
          <a:xfrm>
            <a:off x="355599" y="382589"/>
            <a:ext cx="11125197" cy="350837"/>
          </a:xfrm>
          <a:prstGeom prst="rect">
            <a:avLst/>
          </a:prstGeom>
        </p:spPr>
        <p:txBody>
          <a:bodyPr vert="horz" anchor="t"/>
          <a:lstStyle>
            <a:lvl1pPr>
              <a:defRPr>
                <a:latin typeface="+mn-lt"/>
                <a:cs typeface="Arial" panose="020B0604020202020204" pitchFamily="34" charset="0"/>
              </a:defRPr>
            </a:lvl1pPr>
          </a:lstStyle>
          <a:p>
            <a:r>
              <a:rPr lang="en-US" b="1"/>
              <a:t>Title (try to keep this to one line)</a:t>
            </a:r>
            <a:endParaRPr lang="en-US"/>
          </a:p>
        </p:txBody>
      </p:sp>
      <p:sp>
        <p:nvSpPr>
          <p:cNvPr id="6" name="Text Placeholder 3">
            <a:extLst>
              <a:ext uri="{FF2B5EF4-FFF2-40B4-BE49-F238E27FC236}">
                <a16:creationId xmlns:a16="http://schemas.microsoft.com/office/drawing/2014/main" id="{09B17AE9-C3E9-0305-41B4-DEF469C12E88}"/>
              </a:ext>
            </a:extLst>
          </p:cNvPr>
          <p:cNvSpPr>
            <a:spLocks noGrp="1"/>
          </p:cNvSpPr>
          <p:nvPr>
            <p:ph type="body" sz="quarter" idx="17" hasCustomPrompt="1"/>
          </p:nvPr>
        </p:nvSpPr>
        <p:spPr>
          <a:xfrm>
            <a:off x="355599" y="760265"/>
            <a:ext cx="11125197"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Tree>
    <p:extLst>
      <p:ext uri="{BB962C8B-B14F-4D97-AF65-F5344CB8AC3E}">
        <p14:creationId xmlns:p14="http://schemas.microsoft.com/office/powerpoint/2010/main" val="344703430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CB61762-861B-5CBA-DA50-99FCD1CBF2FA}"/>
              </a:ext>
            </a:extLst>
          </p:cNvPr>
          <p:cNvGraphicFramePr>
            <a:graphicFrameLocks noChangeAspect="1"/>
          </p:cNvGraphicFramePr>
          <p:nvPr userDrawn="1">
            <p:custDataLst>
              <p:tags r:id="rId1"/>
            </p:custDataLst>
            <p:extLst>
              <p:ext uri="{D42A27DB-BD31-4B8C-83A1-F6EECF244321}">
                <p14:modId xmlns:p14="http://schemas.microsoft.com/office/powerpoint/2010/main" val="448124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9CB61762-861B-5CBA-DA50-99FCD1CBF2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val 1">
            <a:extLst>
              <a:ext uri="{FF2B5EF4-FFF2-40B4-BE49-F238E27FC236}">
                <a16:creationId xmlns:a16="http://schemas.microsoft.com/office/drawing/2014/main" id="{ACB78FB7-46D1-E540-A15B-3E79174E3E27}"/>
              </a:ext>
            </a:extLst>
          </p:cNvPr>
          <p:cNvSpPr/>
          <p:nvPr userDrawn="1"/>
        </p:nvSpPr>
        <p:spPr>
          <a:xfrm>
            <a:off x="711200" y="1219200"/>
            <a:ext cx="1625600" cy="1627632"/>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sp>
        <p:nvSpPr>
          <p:cNvPr id="8" name="Text Placeholder 7">
            <a:extLst>
              <a:ext uri="{FF2B5EF4-FFF2-40B4-BE49-F238E27FC236}">
                <a16:creationId xmlns:a16="http://schemas.microsoft.com/office/drawing/2014/main" id="{7A811161-0531-A148-8599-0C0C79F58788}"/>
              </a:ext>
            </a:extLst>
          </p:cNvPr>
          <p:cNvSpPr>
            <a:spLocks noGrp="1"/>
          </p:cNvSpPr>
          <p:nvPr>
            <p:ph type="body" sz="quarter" idx="11" hasCustomPrompt="1"/>
          </p:nvPr>
        </p:nvSpPr>
        <p:spPr>
          <a:xfrm>
            <a:off x="711200" y="2971800"/>
            <a:ext cx="1625600" cy="153888"/>
          </a:xfrm>
          <a:prstGeom prst="rect">
            <a:avLst/>
          </a:prstGeom>
        </p:spPr>
        <p:txBody>
          <a:bodyPr wrap="square" lIns="0" tIns="0" rIns="0" bIns="0">
            <a:spAutoFit/>
          </a:bodyPr>
          <a:lstStyle>
            <a:lvl1pPr marL="0" indent="0">
              <a:buNone/>
              <a:defRPr sz="1000" b="1" i="0">
                <a:latin typeface="+mn-lt"/>
                <a:cs typeface="Arial" panose="020B0604020202020204" pitchFamily="34" charset="0"/>
              </a:defRPr>
            </a:lvl1pPr>
          </a:lstStyle>
          <a:p>
            <a:pPr lvl="0"/>
            <a:r>
              <a:rPr lang="en-US"/>
              <a:t>1. TITLE</a:t>
            </a:r>
          </a:p>
        </p:txBody>
      </p:sp>
      <p:sp>
        <p:nvSpPr>
          <p:cNvPr id="10" name="Picture Placeholder 9">
            <a:extLst>
              <a:ext uri="{FF2B5EF4-FFF2-40B4-BE49-F238E27FC236}">
                <a16:creationId xmlns:a16="http://schemas.microsoft.com/office/drawing/2014/main" id="{5911A9B3-8A37-B34D-9A72-6CFE5713E742}"/>
              </a:ext>
            </a:extLst>
          </p:cNvPr>
          <p:cNvSpPr>
            <a:spLocks noGrp="1"/>
          </p:cNvSpPr>
          <p:nvPr>
            <p:ph type="pic" sz="quarter" idx="12"/>
          </p:nvPr>
        </p:nvSpPr>
        <p:spPr>
          <a:xfrm>
            <a:off x="1003808" y="1717080"/>
            <a:ext cx="1040384" cy="780288"/>
          </a:xfrm>
          <a:prstGeom prst="rect">
            <a:avLst/>
          </a:prstGeom>
        </p:spPr>
        <p:txBody>
          <a:bodyPr/>
          <a:lstStyle>
            <a:lvl1pPr>
              <a:defRPr>
                <a:noFill/>
                <a:latin typeface="+mn-lt"/>
                <a:cs typeface="Arial" panose="020B0604020202020204" pitchFamily="34" charset="0"/>
              </a:defRPr>
            </a:lvl1pPr>
          </a:lstStyle>
          <a:p>
            <a:endParaRPr lang="en-US"/>
          </a:p>
        </p:txBody>
      </p:sp>
      <p:sp>
        <p:nvSpPr>
          <p:cNvPr id="11" name="Text Placeholder 7">
            <a:extLst>
              <a:ext uri="{FF2B5EF4-FFF2-40B4-BE49-F238E27FC236}">
                <a16:creationId xmlns:a16="http://schemas.microsoft.com/office/drawing/2014/main" id="{AB10F280-F5DC-E747-AC25-968E2A81D3AE}"/>
              </a:ext>
            </a:extLst>
          </p:cNvPr>
          <p:cNvSpPr>
            <a:spLocks noGrp="1"/>
          </p:cNvSpPr>
          <p:nvPr>
            <p:ph type="body" sz="quarter" idx="13" hasCustomPrompt="1"/>
          </p:nvPr>
        </p:nvSpPr>
        <p:spPr>
          <a:xfrm>
            <a:off x="711200" y="3241429"/>
            <a:ext cx="1625600" cy="885092"/>
          </a:xfrm>
          <a:prstGeom prst="rect">
            <a:avLst/>
          </a:prstGeom>
        </p:spPr>
        <p:txBody>
          <a:bodyPr wrap="square" lIns="0" tIns="0" rIns="0" bIns="0">
            <a:normAutofit/>
          </a:bodyPr>
          <a:lstStyle>
            <a:lvl1pPr marL="0" indent="0">
              <a:buNone/>
              <a:defRPr sz="1200" b="0" i="0">
                <a:latin typeface="+mn-lt"/>
                <a:cs typeface="Arial" panose="020B0604020202020204" pitchFamily="34" charset="0"/>
              </a:defRPr>
            </a:lvl1pPr>
          </a:lstStyle>
          <a:p>
            <a:pPr lvl="0"/>
            <a:r>
              <a:rPr lang="en-US"/>
              <a:t>Click to edit</a:t>
            </a:r>
          </a:p>
        </p:txBody>
      </p:sp>
      <p:sp>
        <p:nvSpPr>
          <p:cNvPr id="21" name="Oval 20">
            <a:extLst>
              <a:ext uri="{FF2B5EF4-FFF2-40B4-BE49-F238E27FC236}">
                <a16:creationId xmlns:a16="http://schemas.microsoft.com/office/drawing/2014/main" id="{977FCAC7-48B1-4344-A1CC-63E0D63EA1F9}"/>
              </a:ext>
            </a:extLst>
          </p:cNvPr>
          <p:cNvSpPr/>
          <p:nvPr userDrawn="1"/>
        </p:nvSpPr>
        <p:spPr>
          <a:xfrm>
            <a:off x="2540000" y="3150576"/>
            <a:ext cx="1625600" cy="1627632"/>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sp>
        <p:nvSpPr>
          <p:cNvPr id="22" name="Text Placeholder 7">
            <a:extLst>
              <a:ext uri="{FF2B5EF4-FFF2-40B4-BE49-F238E27FC236}">
                <a16:creationId xmlns:a16="http://schemas.microsoft.com/office/drawing/2014/main" id="{3D6A2392-2DEA-CE4E-AA9C-A6193B7CF5D9}"/>
              </a:ext>
            </a:extLst>
          </p:cNvPr>
          <p:cNvSpPr>
            <a:spLocks noGrp="1"/>
          </p:cNvSpPr>
          <p:nvPr>
            <p:ph type="body" sz="quarter" idx="14" hasCustomPrompt="1"/>
          </p:nvPr>
        </p:nvSpPr>
        <p:spPr>
          <a:xfrm>
            <a:off x="2540000" y="4903176"/>
            <a:ext cx="1625600" cy="153888"/>
          </a:xfrm>
          <a:prstGeom prst="rect">
            <a:avLst/>
          </a:prstGeom>
        </p:spPr>
        <p:txBody>
          <a:bodyPr wrap="square" lIns="0" tIns="0" rIns="0" bIns="0">
            <a:spAutoFit/>
          </a:bodyPr>
          <a:lstStyle>
            <a:lvl1pPr marL="0" indent="0">
              <a:buNone/>
              <a:defRPr sz="1000" b="1" i="0">
                <a:latin typeface="+mn-lt"/>
                <a:cs typeface="Arial" panose="020B0604020202020204" pitchFamily="34" charset="0"/>
              </a:defRPr>
            </a:lvl1pPr>
          </a:lstStyle>
          <a:p>
            <a:pPr lvl="0"/>
            <a:r>
              <a:rPr lang="en-US"/>
              <a:t>2. TITLE</a:t>
            </a:r>
          </a:p>
        </p:txBody>
      </p:sp>
      <p:sp>
        <p:nvSpPr>
          <p:cNvPr id="23" name="Picture Placeholder 9">
            <a:extLst>
              <a:ext uri="{FF2B5EF4-FFF2-40B4-BE49-F238E27FC236}">
                <a16:creationId xmlns:a16="http://schemas.microsoft.com/office/drawing/2014/main" id="{37B1514D-0038-6F46-9544-FD20677BADA1}"/>
              </a:ext>
            </a:extLst>
          </p:cNvPr>
          <p:cNvSpPr>
            <a:spLocks noGrp="1"/>
          </p:cNvSpPr>
          <p:nvPr>
            <p:ph type="pic" sz="quarter" idx="15"/>
          </p:nvPr>
        </p:nvSpPr>
        <p:spPr>
          <a:xfrm>
            <a:off x="2832608" y="3648456"/>
            <a:ext cx="1040384" cy="780288"/>
          </a:xfrm>
          <a:prstGeom prst="rect">
            <a:avLst/>
          </a:prstGeom>
        </p:spPr>
        <p:txBody>
          <a:bodyPr/>
          <a:lstStyle>
            <a:lvl1pPr>
              <a:defRPr>
                <a:noFill/>
                <a:latin typeface="+mn-lt"/>
                <a:cs typeface="Arial" panose="020B0604020202020204" pitchFamily="34" charset="0"/>
              </a:defRPr>
            </a:lvl1pPr>
          </a:lstStyle>
          <a:p>
            <a:endParaRPr lang="en-US"/>
          </a:p>
        </p:txBody>
      </p:sp>
      <p:sp>
        <p:nvSpPr>
          <p:cNvPr id="24" name="Text Placeholder 7">
            <a:extLst>
              <a:ext uri="{FF2B5EF4-FFF2-40B4-BE49-F238E27FC236}">
                <a16:creationId xmlns:a16="http://schemas.microsoft.com/office/drawing/2014/main" id="{E56D15AD-6EC3-FB43-8768-62BFD1F1305E}"/>
              </a:ext>
            </a:extLst>
          </p:cNvPr>
          <p:cNvSpPr>
            <a:spLocks noGrp="1"/>
          </p:cNvSpPr>
          <p:nvPr>
            <p:ph type="body" sz="quarter" idx="16" hasCustomPrompt="1"/>
          </p:nvPr>
        </p:nvSpPr>
        <p:spPr>
          <a:xfrm>
            <a:off x="2540000" y="5172805"/>
            <a:ext cx="1625600" cy="885092"/>
          </a:xfrm>
          <a:prstGeom prst="rect">
            <a:avLst/>
          </a:prstGeom>
        </p:spPr>
        <p:txBody>
          <a:bodyPr wrap="square" lIns="0" tIns="0" rIns="0" bIns="0">
            <a:normAutofit/>
          </a:bodyPr>
          <a:lstStyle>
            <a:lvl1pPr marL="0" indent="0">
              <a:buNone/>
              <a:defRPr sz="1200" b="0" i="0">
                <a:latin typeface="+mn-lt"/>
                <a:cs typeface="Arial" panose="020B0604020202020204" pitchFamily="34" charset="0"/>
              </a:defRPr>
            </a:lvl1pPr>
          </a:lstStyle>
          <a:p>
            <a:pPr lvl="0"/>
            <a:r>
              <a:rPr lang="en-US"/>
              <a:t>Click to edit</a:t>
            </a:r>
          </a:p>
        </p:txBody>
      </p:sp>
      <p:sp>
        <p:nvSpPr>
          <p:cNvPr id="33" name="Oval 32">
            <a:extLst>
              <a:ext uri="{FF2B5EF4-FFF2-40B4-BE49-F238E27FC236}">
                <a16:creationId xmlns:a16="http://schemas.microsoft.com/office/drawing/2014/main" id="{57247F85-7029-1C4C-933B-2879E5F9BB2D}"/>
              </a:ext>
            </a:extLst>
          </p:cNvPr>
          <p:cNvSpPr/>
          <p:nvPr userDrawn="1"/>
        </p:nvSpPr>
        <p:spPr>
          <a:xfrm>
            <a:off x="4368800" y="1219200"/>
            <a:ext cx="1625600" cy="1627632"/>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sp>
        <p:nvSpPr>
          <p:cNvPr id="34" name="Text Placeholder 7">
            <a:extLst>
              <a:ext uri="{FF2B5EF4-FFF2-40B4-BE49-F238E27FC236}">
                <a16:creationId xmlns:a16="http://schemas.microsoft.com/office/drawing/2014/main" id="{ED39FC0E-F96C-EC4E-890E-0D1FA1269978}"/>
              </a:ext>
            </a:extLst>
          </p:cNvPr>
          <p:cNvSpPr>
            <a:spLocks noGrp="1"/>
          </p:cNvSpPr>
          <p:nvPr>
            <p:ph type="body" sz="quarter" idx="17" hasCustomPrompt="1"/>
          </p:nvPr>
        </p:nvSpPr>
        <p:spPr>
          <a:xfrm>
            <a:off x="4368800" y="2971800"/>
            <a:ext cx="1625600" cy="153888"/>
          </a:xfrm>
          <a:prstGeom prst="rect">
            <a:avLst/>
          </a:prstGeom>
        </p:spPr>
        <p:txBody>
          <a:bodyPr wrap="square" lIns="0" tIns="0" rIns="0" bIns="0">
            <a:spAutoFit/>
          </a:bodyPr>
          <a:lstStyle>
            <a:lvl1pPr marL="0" indent="0">
              <a:buNone/>
              <a:defRPr sz="1000" b="1" i="0">
                <a:latin typeface="+mn-lt"/>
                <a:cs typeface="Arial" panose="020B0604020202020204" pitchFamily="34" charset="0"/>
              </a:defRPr>
            </a:lvl1pPr>
          </a:lstStyle>
          <a:p>
            <a:pPr lvl="0"/>
            <a:r>
              <a:rPr lang="en-US"/>
              <a:t>3. TITLE</a:t>
            </a:r>
          </a:p>
        </p:txBody>
      </p:sp>
      <p:sp>
        <p:nvSpPr>
          <p:cNvPr id="35" name="Picture Placeholder 9">
            <a:extLst>
              <a:ext uri="{FF2B5EF4-FFF2-40B4-BE49-F238E27FC236}">
                <a16:creationId xmlns:a16="http://schemas.microsoft.com/office/drawing/2014/main" id="{46A2EAE6-BE5F-D249-B4D8-75C23FD0D4B1}"/>
              </a:ext>
            </a:extLst>
          </p:cNvPr>
          <p:cNvSpPr>
            <a:spLocks noGrp="1"/>
          </p:cNvSpPr>
          <p:nvPr>
            <p:ph type="pic" sz="quarter" idx="18"/>
          </p:nvPr>
        </p:nvSpPr>
        <p:spPr>
          <a:xfrm>
            <a:off x="4661408" y="1717080"/>
            <a:ext cx="1040384" cy="780288"/>
          </a:xfrm>
          <a:prstGeom prst="rect">
            <a:avLst/>
          </a:prstGeom>
        </p:spPr>
        <p:txBody>
          <a:bodyPr/>
          <a:lstStyle>
            <a:lvl1pPr>
              <a:defRPr>
                <a:noFill/>
                <a:latin typeface="+mn-lt"/>
                <a:cs typeface="Arial" panose="020B0604020202020204" pitchFamily="34" charset="0"/>
              </a:defRPr>
            </a:lvl1pPr>
          </a:lstStyle>
          <a:p>
            <a:endParaRPr lang="en-US"/>
          </a:p>
        </p:txBody>
      </p:sp>
      <p:sp>
        <p:nvSpPr>
          <p:cNvPr id="36" name="Text Placeholder 7">
            <a:extLst>
              <a:ext uri="{FF2B5EF4-FFF2-40B4-BE49-F238E27FC236}">
                <a16:creationId xmlns:a16="http://schemas.microsoft.com/office/drawing/2014/main" id="{9A8FFFE2-F686-3147-A8C5-20D547E5899B}"/>
              </a:ext>
            </a:extLst>
          </p:cNvPr>
          <p:cNvSpPr>
            <a:spLocks noGrp="1"/>
          </p:cNvSpPr>
          <p:nvPr>
            <p:ph type="body" sz="quarter" idx="19" hasCustomPrompt="1"/>
          </p:nvPr>
        </p:nvSpPr>
        <p:spPr>
          <a:xfrm>
            <a:off x="4368800" y="3241429"/>
            <a:ext cx="1625600" cy="885092"/>
          </a:xfrm>
          <a:prstGeom prst="rect">
            <a:avLst/>
          </a:prstGeom>
        </p:spPr>
        <p:txBody>
          <a:bodyPr wrap="square" lIns="0" tIns="0" rIns="0" bIns="0">
            <a:normAutofit/>
          </a:bodyPr>
          <a:lstStyle>
            <a:lvl1pPr marL="0" indent="0">
              <a:buNone/>
              <a:defRPr sz="1200" b="0" i="0">
                <a:latin typeface="+mn-lt"/>
                <a:cs typeface="Arial" panose="020B0604020202020204" pitchFamily="34" charset="0"/>
              </a:defRPr>
            </a:lvl1pPr>
          </a:lstStyle>
          <a:p>
            <a:pPr lvl="0"/>
            <a:r>
              <a:rPr lang="en-US"/>
              <a:t>Click to edit</a:t>
            </a:r>
          </a:p>
        </p:txBody>
      </p:sp>
      <p:sp>
        <p:nvSpPr>
          <p:cNvPr id="37" name="Oval 36">
            <a:extLst>
              <a:ext uri="{FF2B5EF4-FFF2-40B4-BE49-F238E27FC236}">
                <a16:creationId xmlns:a16="http://schemas.microsoft.com/office/drawing/2014/main" id="{A16F8745-5309-6941-8AE9-A64C229E1D1B}"/>
              </a:ext>
            </a:extLst>
          </p:cNvPr>
          <p:cNvSpPr/>
          <p:nvPr userDrawn="1"/>
        </p:nvSpPr>
        <p:spPr>
          <a:xfrm>
            <a:off x="6197600" y="3150576"/>
            <a:ext cx="1625600" cy="1627632"/>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sp>
        <p:nvSpPr>
          <p:cNvPr id="38" name="Text Placeholder 7">
            <a:extLst>
              <a:ext uri="{FF2B5EF4-FFF2-40B4-BE49-F238E27FC236}">
                <a16:creationId xmlns:a16="http://schemas.microsoft.com/office/drawing/2014/main" id="{BE615A3B-B01E-B147-9866-1C7C74EDC6E9}"/>
              </a:ext>
            </a:extLst>
          </p:cNvPr>
          <p:cNvSpPr>
            <a:spLocks noGrp="1"/>
          </p:cNvSpPr>
          <p:nvPr>
            <p:ph type="body" sz="quarter" idx="20" hasCustomPrompt="1"/>
          </p:nvPr>
        </p:nvSpPr>
        <p:spPr>
          <a:xfrm>
            <a:off x="6197600" y="4903176"/>
            <a:ext cx="1625600" cy="153888"/>
          </a:xfrm>
          <a:prstGeom prst="rect">
            <a:avLst/>
          </a:prstGeom>
        </p:spPr>
        <p:txBody>
          <a:bodyPr wrap="square" lIns="0" tIns="0" rIns="0" bIns="0">
            <a:spAutoFit/>
          </a:bodyPr>
          <a:lstStyle>
            <a:lvl1pPr marL="0" indent="0">
              <a:buNone/>
              <a:defRPr sz="1000" b="1" i="0">
                <a:latin typeface="+mn-lt"/>
                <a:cs typeface="Arial" panose="020B0604020202020204" pitchFamily="34" charset="0"/>
              </a:defRPr>
            </a:lvl1pPr>
          </a:lstStyle>
          <a:p>
            <a:pPr lvl="0"/>
            <a:r>
              <a:rPr lang="en-US"/>
              <a:t>4. TITLE</a:t>
            </a:r>
          </a:p>
        </p:txBody>
      </p:sp>
      <p:sp>
        <p:nvSpPr>
          <p:cNvPr id="39" name="Picture Placeholder 9">
            <a:extLst>
              <a:ext uri="{FF2B5EF4-FFF2-40B4-BE49-F238E27FC236}">
                <a16:creationId xmlns:a16="http://schemas.microsoft.com/office/drawing/2014/main" id="{8BFD9D46-6EE6-5444-856B-130FB60BC9CC}"/>
              </a:ext>
            </a:extLst>
          </p:cNvPr>
          <p:cNvSpPr>
            <a:spLocks noGrp="1"/>
          </p:cNvSpPr>
          <p:nvPr>
            <p:ph type="pic" sz="quarter" idx="21"/>
          </p:nvPr>
        </p:nvSpPr>
        <p:spPr>
          <a:xfrm>
            <a:off x="6490208" y="3648456"/>
            <a:ext cx="1040384" cy="780288"/>
          </a:xfrm>
          <a:prstGeom prst="rect">
            <a:avLst/>
          </a:prstGeom>
        </p:spPr>
        <p:txBody>
          <a:bodyPr/>
          <a:lstStyle>
            <a:lvl1pPr>
              <a:defRPr>
                <a:noFill/>
                <a:latin typeface="+mn-lt"/>
                <a:cs typeface="Arial" panose="020B0604020202020204" pitchFamily="34" charset="0"/>
              </a:defRPr>
            </a:lvl1pPr>
          </a:lstStyle>
          <a:p>
            <a:endParaRPr lang="en-US"/>
          </a:p>
        </p:txBody>
      </p:sp>
      <p:sp>
        <p:nvSpPr>
          <p:cNvPr id="40" name="Text Placeholder 7">
            <a:extLst>
              <a:ext uri="{FF2B5EF4-FFF2-40B4-BE49-F238E27FC236}">
                <a16:creationId xmlns:a16="http://schemas.microsoft.com/office/drawing/2014/main" id="{7B9392E7-2D11-7D48-9148-836291EC0DB0}"/>
              </a:ext>
            </a:extLst>
          </p:cNvPr>
          <p:cNvSpPr>
            <a:spLocks noGrp="1"/>
          </p:cNvSpPr>
          <p:nvPr>
            <p:ph type="body" sz="quarter" idx="22" hasCustomPrompt="1"/>
          </p:nvPr>
        </p:nvSpPr>
        <p:spPr>
          <a:xfrm>
            <a:off x="6197600" y="5172805"/>
            <a:ext cx="1625600" cy="885092"/>
          </a:xfrm>
          <a:prstGeom prst="rect">
            <a:avLst/>
          </a:prstGeom>
        </p:spPr>
        <p:txBody>
          <a:bodyPr wrap="square" lIns="0" tIns="0" rIns="0" bIns="0">
            <a:normAutofit/>
          </a:bodyPr>
          <a:lstStyle>
            <a:lvl1pPr marL="0" indent="0">
              <a:buNone/>
              <a:defRPr sz="1200" b="0" i="0">
                <a:latin typeface="+mn-lt"/>
                <a:cs typeface="Arial" panose="020B0604020202020204" pitchFamily="34" charset="0"/>
              </a:defRPr>
            </a:lvl1pPr>
          </a:lstStyle>
          <a:p>
            <a:pPr lvl="0"/>
            <a:r>
              <a:rPr lang="en-US"/>
              <a:t>Click to edit</a:t>
            </a:r>
          </a:p>
        </p:txBody>
      </p:sp>
      <p:sp>
        <p:nvSpPr>
          <p:cNvPr id="41" name="Oval 40">
            <a:extLst>
              <a:ext uri="{FF2B5EF4-FFF2-40B4-BE49-F238E27FC236}">
                <a16:creationId xmlns:a16="http://schemas.microsoft.com/office/drawing/2014/main" id="{40ACE3B4-2EFC-8D4B-A1AA-749ADF29DEC2}"/>
              </a:ext>
            </a:extLst>
          </p:cNvPr>
          <p:cNvSpPr/>
          <p:nvPr userDrawn="1"/>
        </p:nvSpPr>
        <p:spPr>
          <a:xfrm>
            <a:off x="8026400" y="1219200"/>
            <a:ext cx="1625600" cy="1627632"/>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sp>
        <p:nvSpPr>
          <p:cNvPr id="42" name="Text Placeholder 7">
            <a:extLst>
              <a:ext uri="{FF2B5EF4-FFF2-40B4-BE49-F238E27FC236}">
                <a16:creationId xmlns:a16="http://schemas.microsoft.com/office/drawing/2014/main" id="{5F8EA705-15F4-EF46-B4B6-FFF915D273B1}"/>
              </a:ext>
            </a:extLst>
          </p:cNvPr>
          <p:cNvSpPr>
            <a:spLocks noGrp="1"/>
          </p:cNvSpPr>
          <p:nvPr>
            <p:ph type="body" sz="quarter" idx="23" hasCustomPrompt="1"/>
          </p:nvPr>
        </p:nvSpPr>
        <p:spPr>
          <a:xfrm>
            <a:off x="8026400" y="2971800"/>
            <a:ext cx="1625600" cy="153888"/>
          </a:xfrm>
          <a:prstGeom prst="rect">
            <a:avLst/>
          </a:prstGeom>
        </p:spPr>
        <p:txBody>
          <a:bodyPr wrap="square" lIns="0" tIns="0" rIns="0" bIns="0">
            <a:spAutoFit/>
          </a:bodyPr>
          <a:lstStyle>
            <a:lvl1pPr marL="0" indent="0">
              <a:buNone/>
              <a:defRPr sz="1000" b="1" i="0">
                <a:latin typeface="+mn-lt"/>
                <a:cs typeface="Arial" panose="020B0604020202020204" pitchFamily="34" charset="0"/>
              </a:defRPr>
            </a:lvl1pPr>
          </a:lstStyle>
          <a:p>
            <a:pPr lvl="0"/>
            <a:r>
              <a:rPr lang="en-US"/>
              <a:t>5. TITLE</a:t>
            </a:r>
          </a:p>
        </p:txBody>
      </p:sp>
      <p:sp>
        <p:nvSpPr>
          <p:cNvPr id="43" name="Picture Placeholder 9">
            <a:extLst>
              <a:ext uri="{FF2B5EF4-FFF2-40B4-BE49-F238E27FC236}">
                <a16:creationId xmlns:a16="http://schemas.microsoft.com/office/drawing/2014/main" id="{13E1E1B9-F5AB-3542-A71B-9DEEFF86DE40}"/>
              </a:ext>
            </a:extLst>
          </p:cNvPr>
          <p:cNvSpPr>
            <a:spLocks noGrp="1"/>
          </p:cNvSpPr>
          <p:nvPr>
            <p:ph type="pic" sz="quarter" idx="24"/>
          </p:nvPr>
        </p:nvSpPr>
        <p:spPr>
          <a:xfrm>
            <a:off x="8319008" y="1717080"/>
            <a:ext cx="1040384" cy="780288"/>
          </a:xfrm>
          <a:prstGeom prst="rect">
            <a:avLst/>
          </a:prstGeom>
        </p:spPr>
        <p:txBody>
          <a:bodyPr/>
          <a:lstStyle>
            <a:lvl1pPr>
              <a:defRPr>
                <a:noFill/>
                <a:latin typeface="+mn-lt"/>
                <a:cs typeface="Arial" panose="020B0604020202020204" pitchFamily="34" charset="0"/>
              </a:defRPr>
            </a:lvl1pPr>
          </a:lstStyle>
          <a:p>
            <a:endParaRPr lang="en-US"/>
          </a:p>
        </p:txBody>
      </p:sp>
      <p:sp>
        <p:nvSpPr>
          <p:cNvPr id="44" name="Text Placeholder 7">
            <a:extLst>
              <a:ext uri="{FF2B5EF4-FFF2-40B4-BE49-F238E27FC236}">
                <a16:creationId xmlns:a16="http://schemas.microsoft.com/office/drawing/2014/main" id="{7D21DA47-1242-F74A-B471-64A729E31E60}"/>
              </a:ext>
            </a:extLst>
          </p:cNvPr>
          <p:cNvSpPr>
            <a:spLocks noGrp="1"/>
          </p:cNvSpPr>
          <p:nvPr>
            <p:ph type="body" sz="quarter" idx="25" hasCustomPrompt="1"/>
          </p:nvPr>
        </p:nvSpPr>
        <p:spPr>
          <a:xfrm>
            <a:off x="8026400" y="3241429"/>
            <a:ext cx="1625600" cy="885092"/>
          </a:xfrm>
          <a:prstGeom prst="rect">
            <a:avLst/>
          </a:prstGeom>
        </p:spPr>
        <p:txBody>
          <a:bodyPr wrap="square" lIns="0" tIns="0" rIns="0" bIns="0">
            <a:normAutofit/>
          </a:bodyPr>
          <a:lstStyle>
            <a:lvl1pPr marL="0" indent="0">
              <a:buNone/>
              <a:defRPr sz="1200" b="0" i="0">
                <a:latin typeface="+mn-lt"/>
                <a:cs typeface="Arial" panose="020B0604020202020204" pitchFamily="34" charset="0"/>
              </a:defRPr>
            </a:lvl1pPr>
          </a:lstStyle>
          <a:p>
            <a:pPr lvl="0"/>
            <a:r>
              <a:rPr lang="en-US"/>
              <a:t>Click to edit</a:t>
            </a:r>
          </a:p>
        </p:txBody>
      </p:sp>
      <p:sp>
        <p:nvSpPr>
          <p:cNvPr id="45" name="Oval 44">
            <a:extLst>
              <a:ext uri="{FF2B5EF4-FFF2-40B4-BE49-F238E27FC236}">
                <a16:creationId xmlns:a16="http://schemas.microsoft.com/office/drawing/2014/main" id="{888AA225-8225-1440-B017-1DE281FD97D5}"/>
              </a:ext>
            </a:extLst>
          </p:cNvPr>
          <p:cNvSpPr/>
          <p:nvPr userDrawn="1"/>
        </p:nvSpPr>
        <p:spPr>
          <a:xfrm>
            <a:off x="9855200" y="3150576"/>
            <a:ext cx="1625600" cy="1627632"/>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sp>
        <p:nvSpPr>
          <p:cNvPr id="46" name="Text Placeholder 7">
            <a:extLst>
              <a:ext uri="{FF2B5EF4-FFF2-40B4-BE49-F238E27FC236}">
                <a16:creationId xmlns:a16="http://schemas.microsoft.com/office/drawing/2014/main" id="{5C0981DE-1FD5-BC4F-AEDF-9BE18A519D2D}"/>
              </a:ext>
            </a:extLst>
          </p:cNvPr>
          <p:cNvSpPr>
            <a:spLocks noGrp="1"/>
          </p:cNvSpPr>
          <p:nvPr>
            <p:ph type="body" sz="quarter" idx="26" hasCustomPrompt="1"/>
          </p:nvPr>
        </p:nvSpPr>
        <p:spPr>
          <a:xfrm>
            <a:off x="9855200" y="4903176"/>
            <a:ext cx="1625600" cy="153888"/>
          </a:xfrm>
          <a:prstGeom prst="rect">
            <a:avLst/>
          </a:prstGeom>
        </p:spPr>
        <p:txBody>
          <a:bodyPr wrap="square" lIns="0" tIns="0" rIns="0" bIns="0">
            <a:spAutoFit/>
          </a:bodyPr>
          <a:lstStyle>
            <a:lvl1pPr marL="0" indent="0">
              <a:buNone/>
              <a:defRPr sz="1000" b="1" i="0">
                <a:latin typeface="+mn-lt"/>
                <a:cs typeface="Arial" panose="020B0604020202020204" pitchFamily="34" charset="0"/>
              </a:defRPr>
            </a:lvl1pPr>
          </a:lstStyle>
          <a:p>
            <a:pPr lvl="0"/>
            <a:r>
              <a:rPr lang="en-US"/>
              <a:t>6. TITLE</a:t>
            </a:r>
          </a:p>
        </p:txBody>
      </p:sp>
      <p:sp>
        <p:nvSpPr>
          <p:cNvPr id="47" name="Picture Placeholder 9">
            <a:extLst>
              <a:ext uri="{FF2B5EF4-FFF2-40B4-BE49-F238E27FC236}">
                <a16:creationId xmlns:a16="http://schemas.microsoft.com/office/drawing/2014/main" id="{F2BD249E-1833-B34E-88A7-C65894CBE460}"/>
              </a:ext>
            </a:extLst>
          </p:cNvPr>
          <p:cNvSpPr>
            <a:spLocks noGrp="1"/>
          </p:cNvSpPr>
          <p:nvPr>
            <p:ph type="pic" sz="quarter" idx="27"/>
          </p:nvPr>
        </p:nvSpPr>
        <p:spPr>
          <a:xfrm>
            <a:off x="10147808" y="3648456"/>
            <a:ext cx="1040384" cy="780288"/>
          </a:xfrm>
          <a:prstGeom prst="rect">
            <a:avLst/>
          </a:prstGeom>
        </p:spPr>
        <p:txBody>
          <a:bodyPr/>
          <a:lstStyle>
            <a:lvl1pPr>
              <a:defRPr>
                <a:noFill/>
                <a:latin typeface="+mn-lt"/>
                <a:cs typeface="Arial" panose="020B0604020202020204" pitchFamily="34" charset="0"/>
              </a:defRPr>
            </a:lvl1pPr>
          </a:lstStyle>
          <a:p>
            <a:endParaRPr lang="en-US"/>
          </a:p>
        </p:txBody>
      </p:sp>
      <p:sp>
        <p:nvSpPr>
          <p:cNvPr id="48" name="Text Placeholder 7">
            <a:extLst>
              <a:ext uri="{FF2B5EF4-FFF2-40B4-BE49-F238E27FC236}">
                <a16:creationId xmlns:a16="http://schemas.microsoft.com/office/drawing/2014/main" id="{2CE76CE9-0524-964C-929E-3787EDA6F26B}"/>
              </a:ext>
            </a:extLst>
          </p:cNvPr>
          <p:cNvSpPr>
            <a:spLocks noGrp="1"/>
          </p:cNvSpPr>
          <p:nvPr>
            <p:ph type="body" sz="quarter" idx="28" hasCustomPrompt="1"/>
          </p:nvPr>
        </p:nvSpPr>
        <p:spPr>
          <a:xfrm>
            <a:off x="9855200" y="5172805"/>
            <a:ext cx="1625600" cy="885092"/>
          </a:xfrm>
          <a:prstGeom prst="rect">
            <a:avLst/>
          </a:prstGeom>
        </p:spPr>
        <p:txBody>
          <a:bodyPr wrap="square" lIns="0" tIns="0" rIns="0" bIns="0">
            <a:normAutofit/>
          </a:bodyPr>
          <a:lstStyle>
            <a:lvl1pPr marL="0" indent="0">
              <a:buNone/>
              <a:defRPr sz="1200" b="0" i="0">
                <a:latin typeface="+mn-lt"/>
                <a:cs typeface="Arial" panose="020B0604020202020204" pitchFamily="34" charset="0"/>
              </a:defRPr>
            </a:lvl1pPr>
          </a:lstStyle>
          <a:p>
            <a:pPr lvl="0"/>
            <a:r>
              <a:rPr lang="en-US"/>
              <a:t>Click to edit</a:t>
            </a:r>
          </a:p>
        </p:txBody>
      </p:sp>
      <p:sp>
        <p:nvSpPr>
          <p:cNvPr id="5" name="Title 1">
            <a:extLst>
              <a:ext uri="{FF2B5EF4-FFF2-40B4-BE49-F238E27FC236}">
                <a16:creationId xmlns:a16="http://schemas.microsoft.com/office/drawing/2014/main" id="{94B30940-F67F-F98D-2396-0E4EE1D2251F}"/>
              </a:ext>
            </a:extLst>
          </p:cNvPr>
          <p:cNvSpPr>
            <a:spLocks noGrp="1"/>
          </p:cNvSpPr>
          <p:nvPr>
            <p:ph type="title" hasCustomPrompt="1"/>
          </p:nvPr>
        </p:nvSpPr>
        <p:spPr>
          <a:xfrm>
            <a:off x="355599" y="382589"/>
            <a:ext cx="11125197" cy="350837"/>
          </a:xfrm>
          <a:prstGeom prst="rect">
            <a:avLst/>
          </a:prstGeom>
        </p:spPr>
        <p:txBody>
          <a:bodyPr vert="horz" anchor="t"/>
          <a:lstStyle>
            <a:lvl1pPr>
              <a:defRPr>
                <a:latin typeface="+mn-lt"/>
                <a:cs typeface="Arial" panose="020B0604020202020204" pitchFamily="34" charset="0"/>
              </a:defRPr>
            </a:lvl1pPr>
          </a:lstStyle>
          <a:p>
            <a:r>
              <a:rPr lang="en-US" b="1"/>
              <a:t>Title (try to keep this to one line)</a:t>
            </a:r>
            <a:endParaRPr lang="en-US"/>
          </a:p>
        </p:txBody>
      </p:sp>
      <p:sp>
        <p:nvSpPr>
          <p:cNvPr id="6" name="Text Placeholder 3">
            <a:extLst>
              <a:ext uri="{FF2B5EF4-FFF2-40B4-BE49-F238E27FC236}">
                <a16:creationId xmlns:a16="http://schemas.microsoft.com/office/drawing/2014/main" id="{1C981E2F-ADFB-04BD-402D-EFA2A904177E}"/>
              </a:ext>
            </a:extLst>
          </p:cNvPr>
          <p:cNvSpPr>
            <a:spLocks noGrp="1"/>
          </p:cNvSpPr>
          <p:nvPr>
            <p:ph type="body" sz="quarter" idx="29" hasCustomPrompt="1"/>
          </p:nvPr>
        </p:nvSpPr>
        <p:spPr>
          <a:xfrm>
            <a:off x="355599" y="760265"/>
            <a:ext cx="11125197"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Tree>
    <p:extLst>
      <p:ext uri="{BB962C8B-B14F-4D97-AF65-F5344CB8AC3E}">
        <p14:creationId xmlns:p14="http://schemas.microsoft.com/office/powerpoint/2010/main" val="407575520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DDFD7D-E16E-A60F-ED64-0FA60440BB52}"/>
              </a:ext>
            </a:extLst>
          </p:cNvPr>
          <p:cNvGraphicFramePr>
            <a:graphicFrameLocks noChangeAspect="1"/>
          </p:cNvGraphicFramePr>
          <p:nvPr userDrawn="1">
            <p:custDataLst>
              <p:tags r:id="rId1"/>
            </p:custDataLst>
            <p:extLst>
              <p:ext uri="{D42A27DB-BD31-4B8C-83A1-F6EECF244321}">
                <p14:modId xmlns:p14="http://schemas.microsoft.com/office/powerpoint/2010/main" val="4193616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E0DDFD7D-E16E-A60F-ED64-0FA60440BB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hasCustomPrompt="1"/>
          </p:nvPr>
        </p:nvSpPr>
        <p:spPr>
          <a:xfrm>
            <a:off x="355600" y="382589"/>
            <a:ext cx="11125200" cy="350837"/>
          </a:xfrm>
          <a:prstGeom prst="rect">
            <a:avLst/>
          </a:prstGeom>
        </p:spPr>
        <p:txBody>
          <a:bodyPr vert="horz"/>
          <a:lstStyle>
            <a:lvl1pPr>
              <a:defRPr>
                <a:latin typeface="+mn-lt"/>
                <a:cs typeface="Arial" panose="020B0604020202020204" pitchFamily="34" charset="0"/>
              </a:defRPr>
            </a:lvl1pPr>
          </a:lstStyle>
          <a:p>
            <a:r>
              <a:rPr lang="en-US" b="1"/>
              <a:t>Title (try to keep this to one line)</a:t>
            </a:r>
            <a:endParaRPr lang="en-US"/>
          </a:p>
        </p:txBody>
      </p:sp>
      <p:sp>
        <p:nvSpPr>
          <p:cNvPr id="4" name="Text Placeholder 3">
            <a:extLst>
              <a:ext uri="{FF2B5EF4-FFF2-40B4-BE49-F238E27FC236}">
                <a16:creationId xmlns:a16="http://schemas.microsoft.com/office/drawing/2014/main" id="{285D8776-5D93-472A-884E-52CDF57B7FA4}"/>
              </a:ext>
            </a:extLst>
          </p:cNvPr>
          <p:cNvSpPr>
            <a:spLocks noGrp="1"/>
          </p:cNvSpPr>
          <p:nvPr>
            <p:ph type="body" sz="quarter" idx="11" hasCustomPrompt="1"/>
          </p:nvPr>
        </p:nvSpPr>
        <p:spPr>
          <a:xfrm>
            <a:off x="355600" y="760265"/>
            <a:ext cx="111252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Tree>
    <p:extLst>
      <p:ext uri="{BB962C8B-B14F-4D97-AF65-F5344CB8AC3E}">
        <p14:creationId xmlns:p14="http://schemas.microsoft.com/office/powerpoint/2010/main" val="237559907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5EEC41-2F65-0762-F51A-98D27904C159}"/>
              </a:ext>
            </a:extLst>
          </p:cNvPr>
          <p:cNvGraphicFramePr>
            <a:graphicFrameLocks noChangeAspect="1"/>
          </p:cNvGraphicFramePr>
          <p:nvPr userDrawn="1">
            <p:custDataLst>
              <p:tags r:id="rId1"/>
            </p:custDataLst>
            <p:extLst>
              <p:ext uri="{D42A27DB-BD31-4B8C-83A1-F6EECF244321}">
                <p14:modId xmlns:p14="http://schemas.microsoft.com/office/powerpoint/2010/main" val="3500741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95EEC41-2F65-0762-F51A-98D27904C1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7">
            <a:extLst>
              <a:ext uri="{FF2B5EF4-FFF2-40B4-BE49-F238E27FC236}">
                <a16:creationId xmlns:a16="http://schemas.microsoft.com/office/drawing/2014/main" id="{BFBCFC72-A33A-D14D-A6EA-D516CB4F9FF2}"/>
              </a:ext>
            </a:extLst>
          </p:cNvPr>
          <p:cNvSpPr>
            <a:spLocks noGrp="1"/>
          </p:cNvSpPr>
          <p:nvPr>
            <p:ph type="pic" sz="quarter" idx="10"/>
          </p:nvPr>
        </p:nvSpPr>
        <p:spPr>
          <a:xfrm>
            <a:off x="355600" y="1447800"/>
            <a:ext cx="4368800" cy="3886200"/>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5" name="Text Placeholder 4"/>
          <p:cNvSpPr>
            <a:spLocks noGrp="1"/>
          </p:cNvSpPr>
          <p:nvPr>
            <p:ph type="body" sz="quarter" idx="12"/>
          </p:nvPr>
        </p:nvSpPr>
        <p:spPr>
          <a:xfrm>
            <a:off x="4876800" y="1447800"/>
            <a:ext cx="6604000" cy="3886200"/>
          </a:xfrm>
          <a:prstGeom prst="rect">
            <a:avLst/>
          </a:prstGeom>
        </p:spPr>
        <p:txBody>
          <a:bodyPr/>
          <a:lstStyle>
            <a:lvl1pPr>
              <a:defRPr sz="2400">
                <a:latin typeface="+mn-lt"/>
                <a:cs typeface="Arial" panose="020B0604020202020204" pitchFamily="34" charset="0"/>
              </a:defRPr>
            </a:lvl1pPr>
            <a:lvl2pPr>
              <a:defRPr/>
            </a:lvl2pPr>
            <a:lvl3pPr>
              <a:defRPr sz="2400">
                <a:latin typeface="+mn-lt"/>
                <a:cs typeface="Arial" panose="020B0604020202020204" pitchFamily="34" charset="0"/>
              </a:defRPr>
            </a:lvl3pPr>
            <a:lvl4pPr>
              <a:defRPr sz="2400">
                <a:latin typeface="+mn-lt"/>
                <a:cs typeface="Arial" panose="020B0604020202020204" pitchFamily="34" charset="0"/>
              </a:defRPr>
            </a:lvl4pPr>
            <a:lvl5pPr>
              <a:defRPr sz="2400">
                <a:latin typeface="+mn-lt"/>
                <a:cs typeface="Arial" panose="020B0604020202020204" pitchFamily="34" charset="0"/>
              </a:defRPr>
            </a:lvl5pPr>
          </a:lstStyle>
          <a:p>
            <a:pPr lvl="0"/>
            <a:r>
              <a:rPr lang="en-US"/>
              <a:t>Click to edit Master text styles</a:t>
            </a:r>
            <a:br>
              <a:rPr lang="en-US"/>
            </a:br>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hasCustomPrompt="1"/>
          </p:nvPr>
        </p:nvSpPr>
        <p:spPr>
          <a:xfrm>
            <a:off x="355600" y="382589"/>
            <a:ext cx="11125200" cy="350837"/>
          </a:xfrm>
          <a:prstGeom prst="rect">
            <a:avLst/>
          </a:prstGeom>
        </p:spPr>
        <p:txBody>
          <a:bodyPr vert="horz"/>
          <a:lstStyle>
            <a:lvl1pPr>
              <a:defRPr>
                <a:latin typeface="+mn-lt"/>
                <a:cs typeface="Arial" panose="020B0604020202020204" pitchFamily="34" charset="0"/>
              </a:defRPr>
            </a:lvl1pPr>
          </a:lstStyle>
          <a:p>
            <a:r>
              <a:rPr lang="en-US" b="1"/>
              <a:t>Title (try to keep this to one line)</a:t>
            </a:r>
            <a:endParaRPr lang="en-US"/>
          </a:p>
        </p:txBody>
      </p:sp>
      <p:sp>
        <p:nvSpPr>
          <p:cNvPr id="6" name="Text Placeholder 3"/>
          <p:cNvSpPr>
            <a:spLocks noGrp="1"/>
          </p:cNvSpPr>
          <p:nvPr>
            <p:ph type="body" sz="quarter" idx="11" hasCustomPrompt="1"/>
          </p:nvPr>
        </p:nvSpPr>
        <p:spPr>
          <a:xfrm>
            <a:off x="355600" y="760265"/>
            <a:ext cx="111252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Tree>
    <p:extLst>
      <p:ext uri="{BB962C8B-B14F-4D97-AF65-F5344CB8AC3E}">
        <p14:creationId xmlns:p14="http://schemas.microsoft.com/office/powerpoint/2010/main" val="405245737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56E8D9-B511-3831-D5AE-DCBC52F09429}"/>
              </a:ext>
            </a:extLst>
          </p:cNvPr>
          <p:cNvGraphicFramePr>
            <a:graphicFrameLocks noChangeAspect="1"/>
          </p:cNvGraphicFramePr>
          <p:nvPr userDrawn="1">
            <p:custDataLst>
              <p:tags r:id="rId1"/>
            </p:custDataLst>
            <p:extLst>
              <p:ext uri="{D42A27DB-BD31-4B8C-83A1-F6EECF244321}">
                <p14:modId xmlns:p14="http://schemas.microsoft.com/office/powerpoint/2010/main" val="1663689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0956E8D9-B511-3831-D5AE-DCBC52F094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7">
            <a:extLst>
              <a:ext uri="{FF2B5EF4-FFF2-40B4-BE49-F238E27FC236}">
                <a16:creationId xmlns:a16="http://schemas.microsoft.com/office/drawing/2014/main" id="{BFBCFC72-A33A-D14D-A6EA-D516CB4F9FF2}"/>
              </a:ext>
            </a:extLst>
          </p:cNvPr>
          <p:cNvSpPr>
            <a:spLocks noGrp="1"/>
          </p:cNvSpPr>
          <p:nvPr>
            <p:ph type="pic" sz="quarter" idx="10"/>
          </p:nvPr>
        </p:nvSpPr>
        <p:spPr>
          <a:xfrm>
            <a:off x="7112000" y="1447800"/>
            <a:ext cx="4368800" cy="3886200"/>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2" name="Title 1"/>
          <p:cNvSpPr>
            <a:spLocks noGrp="1"/>
          </p:cNvSpPr>
          <p:nvPr>
            <p:ph type="title" hasCustomPrompt="1"/>
          </p:nvPr>
        </p:nvSpPr>
        <p:spPr>
          <a:xfrm>
            <a:off x="355600" y="382589"/>
            <a:ext cx="11125200" cy="350837"/>
          </a:xfrm>
          <a:prstGeom prst="rect">
            <a:avLst/>
          </a:prstGeom>
        </p:spPr>
        <p:txBody>
          <a:bodyPr vert="horz"/>
          <a:lstStyle>
            <a:lvl1pPr>
              <a:defRPr>
                <a:latin typeface="+mn-lt"/>
                <a:cs typeface="Arial" panose="020B0604020202020204" pitchFamily="34" charset="0"/>
              </a:defRPr>
            </a:lvl1pPr>
          </a:lstStyle>
          <a:p>
            <a:r>
              <a:rPr lang="en-US" b="1"/>
              <a:t>Title (try to keep this to one line)</a:t>
            </a:r>
            <a:endParaRPr lang="en-US"/>
          </a:p>
        </p:txBody>
      </p:sp>
      <p:sp>
        <p:nvSpPr>
          <p:cNvPr id="5" name="Text Placeholder 4"/>
          <p:cNvSpPr>
            <a:spLocks noGrp="1"/>
          </p:cNvSpPr>
          <p:nvPr>
            <p:ph type="body" sz="quarter" idx="12"/>
          </p:nvPr>
        </p:nvSpPr>
        <p:spPr>
          <a:xfrm>
            <a:off x="355600" y="1447800"/>
            <a:ext cx="6553200" cy="3886200"/>
          </a:xfrm>
          <a:prstGeom prst="rect">
            <a:avLst/>
          </a:prstGeom>
        </p:spPr>
        <p:txBody>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1" hasCustomPrompt="1"/>
          </p:nvPr>
        </p:nvSpPr>
        <p:spPr>
          <a:xfrm>
            <a:off x="355600" y="760265"/>
            <a:ext cx="111252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Tree>
    <p:extLst>
      <p:ext uri="{BB962C8B-B14F-4D97-AF65-F5344CB8AC3E}">
        <p14:creationId xmlns:p14="http://schemas.microsoft.com/office/powerpoint/2010/main" val="101025475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Images w/ no gutter—mi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9E58BB-AFAA-8139-D5D3-333858A30B9E}"/>
              </a:ext>
            </a:extLst>
          </p:cNvPr>
          <p:cNvGraphicFramePr>
            <a:graphicFrameLocks noChangeAspect="1"/>
          </p:cNvGraphicFramePr>
          <p:nvPr userDrawn="1">
            <p:custDataLst>
              <p:tags r:id="rId1"/>
            </p:custDataLst>
            <p:extLst>
              <p:ext uri="{D42A27DB-BD31-4B8C-83A1-F6EECF244321}">
                <p14:modId xmlns:p14="http://schemas.microsoft.com/office/powerpoint/2010/main" val="2135616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49E58BB-AFAA-8139-D5D3-333858A30B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5">
            <a:extLst>
              <a:ext uri="{FF2B5EF4-FFF2-40B4-BE49-F238E27FC236}">
                <a16:creationId xmlns:a16="http://schemas.microsoft.com/office/drawing/2014/main" id="{70EDB1A8-2305-874D-92B3-9884EFCBBA6C}"/>
              </a:ext>
            </a:extLst>
          </p:cNvPr>
          <p:cNvSpPr>
            <a:spLocks noGrp="1"/>
          </p:cNvSpPr>
          <p:nvPr>
            <p:ph type="pic" sz="quarter" idx="10"/>
          </p:nvPr>
        </p:nvSpPr>
        <p:spPr>
          <a:xfrm>
            <a:off x="355600" y="1524000"/>
            <a:ext cx="3589867" cy="1828799"/>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2" name="Title 1"/>
          <p:cNvSpPr>
            <a:spLocks noGrp="1"/>
          </p:cNvSpPr>
          <p:nvPr>
            <p:ph type="title" hasCustomPrompt="1"/>
          </p:nvPr>
        </p:nvSpPr>
        <p:spPr>
          <a:xfrm>
            <a:off x="355600" y="382589"/>
            <a:ext cx="11125200" cy="350837"/>
          </a:xfrm>
          <a:prstGeom prst="rect">
            <a:avLst/>
          </a:prstGeom>
        </p:spPr>
        <p:txBody>
          <a:bodyPr vert="horz"/>
          <a:lstStyle>
            <a:lvl1pPr>
              <a:defRPr>
                <a:latin typeface="+mn-lt"/>
                <a:cs typeface="Arial" panose="020B0604020202020204" pitchFamily="34" charset="0"/>
              </a:defRPr>
            </a:lvl1pPr>
          </a:lstStyle>
          <a:p>
            <a:r>
              <a:rPr lang="en-US" b="1"/>
              <a:t>Title (try to keep this to one line)</a:t>
            </a:r>
            <a:endParaRPr lang="en-US"/>
          </a:p>
        </p:txBody>
      </p:sp>
      <p:sp>
        <p:nvSpPr>
          <p:cNvPr id="7" name="Text Placeholder 4"/>
          <p:cNvSpPr>
            <a:spLocks noGrp="1"/>
          </p:cNvSpPr>
          <p:nvPr>
            <p:ph type="body" sz="quarter" idx="13"/>
          </p:nvPr>
        </p:nvSpPr>
        <p:spPr>
          <a:xfrm>
            <a:off x="355600" y="3505199"/>
            <a:ext cx="3589867" cy="838200"/>
          </a:xfrm>
          <a:prstGeom prst="rect">
            <a:avLst/>
          </a:prstGeom>
        </p:spPr>
        <p:txBody>
          <a:bodyPr/>
          <a:lstStyle>
            <a:lvl1pPr algn="ctr">
              <a:defRPr>
                <a:latin typeface="+mn-lt"/>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14"/>
          </p:nvPr>
        </p:nvSpPr>
        <p:spPr>
          <a:xfrm>
            <a:off x="4123265" y="3505199"/>
            <a:ext cx="3589867" cy="838200"/>
          </a:xfrm>
          <a:prstGeom prst="rect">
            <a:avLst/>
          </a:prstGeom>
        </p:spPr>
        <p:txBody>
          <a:bodyPr/>
          <a:lstStyle>
            <a:lvl1pPr algn="ctr">
              <a:defRPr>
                <a:latin typeface="+mn-lt"/>
                <a:cs typeface="Arial" panose="020B0604020202020204" pitchFamily="34" charset="0"/>
              </a:defRPr>
            </a:lvl1pPr>
          </a:lstStyle>
          <a:p>
            <a:pPr lvl="0"/>
            <a:r>
              <a:rPr lang="en-US"/>
              <a:t>Click to edit Master text styles</a:t>
            </a:r>
          </a:p>
        </p:txBody>
      </p:sp>
      <p:sp>
        <p:nvSpPr>
          <p:cNvPr id="9" name="Text Placeholder 4"/>
          <p:cNvSpPr>
            <a:spLocks noGrp="1"/>
          </p:cNvSpPr>
          <p:nvPr>
            <p:ph type="body" sz="quarter" idx="15"/>
          </p:nvPr>
        </p:nvSpPr>
        <p:spPr>
          <a:xfrm>
            <a:off x="7890931" y="3505199"/>
            <a:ext cx="3589867" cy="838200"/>
          </a:xfrm>
          <a:prstGeom prst="rect">
            <a:avLst/>
          </a:prstGeom>
        </p:spPr>
        <p:txBody>
          <a:bodyPr/>
          <a:lstStyle>
            <a:lvl1pPr algn="ctr">
              <a:defRPr>
                <a:latin typeface="+mn-lt"/>
                <a:cs typeface="Arial" panose="020B0604020202020204" pitchFamily="34" charset="0"/>
              </a:defRPr>
            </a:lvl1pPr>
          </a:lstStyle>
          <a:p>
            <a:pPr lvl="0"/>
            <a:r>
              <a:rPr lang="en-US"/>
              <a:t>Click to edit Master text styles</a:t>
            </a:r>
          </a:p>
        </p:txBody>
      </p:sp>
      <p:sp>
        <p:nvSpPr>
          <p:cNvPr id="10" name="Picture Placeholder 15">
            <a:extLst>
              <a:ext uri="{FF2B5EF4-FFF2-40B4-BE49-F238E27FC236}">
                <a16:creationId xmlns:a16="http://schemas.microsoft.com/office/drawing/2014/main" id="{70EDB1A8-2305-874D-92B3-9884EFCBBA6C}"/>
              </a:ext>
            </a:extLst>
          </p:cNvPr>
          <p:cNvSpPr>
            <a:spLocks noGrp="1"/>
          </p:cNvSpPr>
          <p:nvPr>
            <p:ph type="pic" sz="quarter" idx="16"/>
          </p:nvPr>
        </p:nvSpPr>
        <p:spPr>
          <a:xfrm>
            <a:off x="4123265" y="1524000"/>
            <a:ext cx="3589867" cy="1828799"/>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11" name="Picture Placeholder 15">
            <a:extLst>
              <a:ext uri="{FF2B5EF4-FFF2-40B4-BE49-F238E27FC236}">
                <a16:creationId xmlns:a16="http://schemas.microsoft.com/office/drawing/2014/main" id="{70EDB1A8-2305-874D-92B3-9884EFCBBA6C}"/>
              </a:ext>
            </a:extLst>
          </p:cNvPr>
          <p:cNvSpPr>
            <a:spLocks noGrp="1"/>
          </p:cNvSpPr>
          <p:nvPr>
            <p:ph type="pic" sz="quarter" idx="17"/>
          </p:nvPr>
        </p:nvSpPr>
        <p:spPr>
          <a:xfrm>
            <a:off x="7890932" y="1524000"/>
            <a:ext cx="3589867" cy="1828799"/>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12" name="Text Placeholder 3"/>
          <p:cNvSpPr>
            <a:spLocks noGrp="1"/>
          </p:cNvSpPr>
          <p:nvPr>
            <p:ph type="body" sz="quarter" idx="11" hasCustomPrompt="1"/>
          </p:nvPr>
        </p:nvSpPr>
        <p:spPr>
          <a:xfrm>
            <a:off x="355600" y="760265"/>
            <a:ext cx="111252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Tree>
    <p:extLst>
      <p:ext uri="{BB962C8B-B14F-4D97-AF65-F5344CB8AC3E}">
        <p14:creationId xmlns:p14="http://schemas.microsoft.com/office/powerpoint/2010/main" val="168764427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3 Images w/ no gutter—mi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9E58BB-AFAA-8139-D5D3-333858A30B9E}"/>
              </a:ext>
            </a:extLst>
          </p:cNvPr>
          <p:cNvGraphicFramePr>
            <a:graphicFrameLocks noChangeAspect="1"/>
          </p:cNvGraphicFramePr>
          <p:nvPr userDrawn="1">
            <p:custDataLst>
              <p:tags r:id="rId1"/>
            </p:custDataLst>
            <p:extLst>
              <p:ext uri="{D42A27DB-BD31-4B8C-83A1-F6EECF244321}">
                <p14:modId xmlns:p14="http://schemas.microsoft.com/office/powerpoint/2010/main" val="2135616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349E58BB-AFAA-8139-D5D3-333858A30B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5">
            <a:extLst>
              <a:ext uri="{FF2B5EF4-FFF2-40B4-BE49-F238E27FC236}">
                <a16:creationId xmlns:a16="http://schemas.microsoft.com/office/drawing/2014/main" id="{70EDB1A8-2305-874D-92B3-9884EFCBBA6C}"/>
              </a:ext>
            </a:extLst>
          </p:cNvPr>
          <p:cNvSpPr>
            <a:spLocks noGrp="1"/>
          </p:cNvSpPr>
          <p:nvPr>
            <p:ph type="pic" sz="quarter" idx="10"/>
          </p:nvPr>
        </p:nvSpPr>
        <p:spPr>
          <a:xfrm>
            <a:off x="355600" y="2528454"/>
            <a:ext cx="3589867" cy="1828799"/>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2" name="Title 1"/>
          <p:cNvSpPr>
            <a:spLocks noGrp="1"/>
          </p:cNvSpPr>
          <p:nvPr>
            <p:ph type="title" hasCustomPrompt="1"/>
          </p:nvPr>
        </p:nvSpPr>
        <p:spPr>
          <a:xfrm>
            <a:off x="355600" y="382589"/>
            <a:ext cx="11125200" cy="350837"/>
          </a:xfrm>
          <a:prstGeom prst="rect">
            <a:avLst/>
          </a:prstGeom>
        </p:spPr>
        <p:txBody>
          <a:bodyPr vert="horz"/>
          <a:lstStyle>
            <a:lvl1pPr>
              <a:defRPr>
                <a:latin typeface="+mn-lt"/>
                <a:cs typeface="Arial" panose="020B0604020202020204" pitchFamily="34" charset="0"/>
              </a:defRPr>
            </a:lvl1pPr>
          </a:lstStyle>
          <a:p>
            <a:r>
              <a:rPr lang="en-US" b="1"/>
              <a:t>Title (try to keep this to one line)</a:t>
            </a:r>
            <a:endParaRPr lang="en-US"/>
          </a:p>
        </p:txBody>
      </p:sp>
      <p:sp>
        <p:nvSpPr>
          <p:cNvPr id="7" name="Text Placeholder 4"/>
          <p:cNvSpPr>
            <a:spLocks noGrp="1"/>
          </p:cNvSpPr>
          <p:nvPr>
            <p:ph type="body" sz="quarter" idx="13"/>
          </p:nvPr>
        </p:nvSpPr>
        <p:spPr>
          <a:xfrm>
            <a:off x="355600" y="1537853"/>
            <a:ext cx="3589867" cy="838200"/>
          </a:xfrm>
          <a:prstGeom prst="rect">
            <a:avLst/>
          </a:prstGeom>
        </p:spPr>
        <p:txBody>
          <a:bodyPr/>
          <a:lstStyle>
            <a:lvl1pPr algn="ctr">
              <a:defRPr>
                <a:latin typeface="+mn-lt"/>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14"/>
          </p:nvPr>
        </p:nvSpPr>
        <p:spPr>
          <a:xfrm>
            <a:off x="4123265" y="1537853"/>
            <a:ext cx="3589867" cy="838200"/>
          </a:xfrm>
          <a:prstGeom prst="rect">
            <a:avLst/>
          </a:prstGeom>
        </p:spPr>
        <p:txBody>
          <a:bodyPr/>
          <a:lstStyle>
            <a:lvl1pPr algn="ctr">
              <a:defRPr>
                <a:latin typeface="+mn-lt"/>
                <a:cs typeface="Arial" panose="020B0604020202020204" pitchFamily="34" charset="0"/>
              </a:defRPr>
            </a:lvl1pPr>
          </a:lstStyle>
          <a:p>
            <a:pPr lvl="0"/>
            <a:r>
              <a:rPr lang="en-US"/>
              <a:t>Click to edit Master text styles</a:t>
            </a:r>
          </a:p>
        </p:txBody>
      </p:sp>
      <p:sp>
        <p:nvSpPr>
          <p:cNvPr id="9" name="Text Placeholder 4"/>
          <p:cNvSpPr>
            <a:spLocks noGrp="1"/>
          </p:cNvSpPr>
          <p:nvPr>
            <p:ph type="body" sz="quarter" idx="15"/>
          </p:nvPr>
        </p:nvSpPr>
        <p:spPr>
          <a:xfrm>
            <a:off x="7890931" y="1537853"/>
            <a:ext cx="3589867" cy="838200"/>
          </a:xfrm>
          <a:prstGeom prst="rect">
            <a:avLst/>
          </a:prstGeom>
        </p:spPr>
        <p:txBody>
          <a:bodyPr/>
          <a:lstStyle>
            <a:lvl1pPr algn="ctr">
              <a:defRPr>
                <a:latin typeface="+mn-lt"/>
                <a:cs typeface="Arial" panose="020B0604020202020204" pitchFamily="34" charset="0"/>
              </a:defRPr>
            </a:lvl1pPr>
          </a:lstStyle>
          <a:p>
            <a:pPr lvl="0"/>
            <a:r>
              <a:rPr lang="en-US"/>
              <a:t>Click to edit Master text styles</a:t>
            </a:r>
          </a:p>
        </p:txBody>
      </p:sp>
      <p:sp>
        <p:nvSpPr>
          <p:cNvPr id="10" name="Picture Placeholder 15">
            <a:extLst>
              <a:ext uri="{FF2B5EF4-FFF2-40B4-BE49-F238E27FC236}">
                <a16:creationId xmlns:a16="http://schemas.microsoft.com/office/drawing/2014/main" id="{70EDB1A8-2305-874D-92B3-9884EFCBBA6C}"/>
              </a:ext>
            </a:extLst>
          </p:cNvPr>
          <p:cNvSpPr>
            <a:spLocks noGrp="1"/>
          </p:cNvSpPr>
          <p:nvPr>
            <p:ph type="pic" sz="quarter" idx="16"/>
          </p:nvPr>
        </p:nvSpPr>
        <p:spPr>
          <a:xfrm>
            <a:off x="4123265" y="2528454"/>
            <a:ext cx="3589867" cy="1828799"/>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11" name="Picture Placeholder 15">
            <a:extLst>
              <a:ext uri="{FF2B5EF4-FFF2-40B4-BE49-F238E27FC236}">
                <a16:creationId xmlns:a16="http://schemas.microsoft.com/office/drawing/2014/main" id="{70EDB1A8-2305-874D-92B3-9884EFCBBA6C}"/>
              </a:ext>
            </a:extLst>
          </p:cNvPr>
          <p:cNvSpPr>
            <a:spLocks noGrp="1"/>
          </p:cNvSpPr>
          <p:nvPr>
            <p:ph type="pic" sz="quarter" idx="17"/>
          </p:nvPr>
        </p:nvSpPr>
        <p:spPr>
          <a:xfrm>
            <a:off x="7890932" y="2528454"/>
            <a:ext cx="3589867" cy="1828799"/>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12" name="Text Placeholder 3"/>
          <p:cNvSpPr>
            <a:spLocks noGrp="1"/>
          </p:cNvSpPr>
          <p:nvPr>
            <p:ph type="body" sz="quarter" idx="11" hasCustomPrompt="1"/>
          </p:nvPr>
        </p:nvSpPr>
        <p:spPr>
          <a:xfrm>
            <a:off x="355600" y="760265"/>
            <a:ext cx="111252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Tree>
    <p:extLst>
      <p:ext uri="{BB962C8B-B14F-4D97-AF65-F5344CB8AC3E}">
        <p14:creationId xmlns:p14="http://schemas.microsoft.com/office/powerpoint/2010/main" val="385081575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Images Vertical w/ Tex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A6D7696-8569-A25C-2D78-676B9CE133A5}"/>
              </a:ext>
            </a:extLst>
          </p:cNvPr>
          <p:cNvGraphicFramePr>
            <a:graphicFrameLocks noChangeAspect="1"/>
          </p:cNvGraphicFramePr>
          <p:nvPr userDrawn="1">
            <p:custDataLst>
              <p:tags r:id="rId1"/>
            </p:custDataLst>
            <p:extLst>
              <p:ext uri="{D42A27DB-BD31-4B8C-83A1-F6EECF244321}">
                <p14:modId xmlns:p14="http://schemas.microsoft.com/office/powerpoint/2010/main" val="2579372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5A6D7696-8569-A25C-2D78-676B9CE133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55600" y="382589"/>
            <a:ext cx="11125200" cy="350837"/>
          </a:xfrm>
          <a:prstGeom prst="rect">
            <a:avLst/>
          </a:prstGeom>
        </p:spPr>
        <p:txBody>
          <a:bodyPr vert="horz"/>
          <a:lstStyle>
            <a:lvl1pPr>
              <a:defRPr>
                <a:latin typeface="+mn-lt"/>
                <a:cs typeface="Arial" panose="020B0604020202020204" pitchFamily="34" charset="0"/>
              </a:defRPr>
            </a:lvl1pPr>
          </a:lstStyle>
          <a:p>
            <a:r>
              <a:rPr lang="en-US"/>
              <a:t>Click to edit Master title style</a:t>
            </a:r>
          </a:p>
        </p:txBody>
      </p:sp>
      <p:sp>
        <p:nvSpPr>
          <p:cNvPr id="10" name="Text Placeholder 3"/>
          <p:cNvSpPr>
            <a:spLocks noGrp="1"/>
          </p:cNvSpPr>
          <p:nvPr>
            <p:ph type="body" sz="quarter" idx="11" hasCustomPrompt="1"/>
          </p:nvPr>
        </p:nvSpPr>
        <p:spPr>
          <a:xfrm>
            <a:off x="355600" y="760265"/>
            <a:ext cx="111252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a:t>Subtitle (optional)</a:t>
            </a:r>
          </a:p>
        </p:txBody>
      </p:sp>
      <p:sp>
        <p:nvSpPr>
          <p:cNvPr id="19" name="Picture Placeholder 14">
            <a:extLst>
              <a:ext uri="{FF2B5EF4-FFF2-40B4-BE49-F238E27FC236}">
                <a16:creationId xmlns:a16="http://schemas.microsoft.com/office/drawing/2014/main" id="{81269D57-DABC-6E49-B3C4-40D47B1BBE1E}"/>
              </a:ext>
            </a:extLst>
          </p:cNvPr>
          <p:cNvSpPr>
            <a:spLocks noGrp="1" noChangeAspect="1"/>
          </p:cNvSpPr>
          <p:nvPr>
            <p:ph type="pic" sz="quarter" idx="13"/>
          </p:nvPr>
        </p:nvSpPr>
        <p:spPr>
          <a:xfrm>
            <a:off x="355600" y="1457740"/>
            <a:ext cx="2715672" cy="1499377"/>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18" name="Picture Placeholder 14">
            <a:extLst>
              <a:ext uri="{FF2B5EF4-FFF2-40B4-BE49-F238E27FC236}">
                <a16:creationId xmlns:a16="http://schemas.microsoft.com/office/drawing/2014/main" id="{303E55AA-0F77-4FC0-90B5-B80430C2BFB4}"/>
              </a:ext>
            </a:extLst>
          </p:cNvPr>
          <p:cNvSpPr>
            <a:spLocks noGrp="1" noChangeAspect="1"/>
          </p:cNvSpPr>
          <p:nvPr>
            <p:ph type="pic" sz="quarter" idx="19"/>
          </p:nvPr>
        </p:nvSpPr>
        <p:spPr>
          <a:xfrm>
            <a:off x="355600" y="3103381"/>
            <a:ext cx="2715672" cy="1499377"/>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22" name="Picture Placeholder 14">
            <a:extLst>
              <a:ext uri="{FF2B5EF4-FFF2-40B4-BE49-F238E27FC236}">
                <a16:creationId xmlns:a16="http://schemas.microsoft.com/office/drawing/2014/main" id="{68DDB274-0515-4D08-9B40-082F57069576}"/>
              </a:ext>
            </a:extLst>
          </p:cNvPr>
          <p:cNvSpPr>
            <a:spLocks noGrp="1" noChangeAspect="1"/>
          </p:cNvSpPr>
          <p:nvPr>
            <p:ph type="pic" sz="quarter" idx="20"/>
          </p:nvPr>
        </p:nvSpPr>
        <p:spPr>
          <a:xfrm>
            <a:off x="355600" y="4749022"/>
            <a:ext cx="2715672" cy="1499377"/>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13" name="Text Placeholder 4"/>
          <p:cNvSpPr>
            <a:spLocks noGrp="1"/>
          </p:cNvSpPr>
          <p:nvPr>
            <p:ph type="body" sz="quarter" idx="23"/>
          </p:nvPr>
        </p:nvSpPr>
        <p:spPr>
          <a:xfrm>
            <a:off x="3200403" y="1457740"/>
            <a:ext cx="8280397" cy="1499377"/>
          </a:xfrm>
          <a:prstGeom prst="rect">
            <a:avLst/>
          </a:prstGeom>
        </p:spPr>
        <p:txBody>
          <a:bodyPr anchor="ctr"/>
          <a:lstStyle>
            <a:lvl1pPr>
              <a:defRPr>
                <a:latin typeface="+mn-lt"/>
                <a:cs typeface="Arial" panose="020B0604020202020204" pitchFamily="34" charset="0"/>
              </a:defRPr>
            </a:lvl1pPr>
          </a:lstStyle>
          <a:p>
            <a:pPr lvl="0"/>
            <a:r>
              <a:rPr lang="en-US"/>
              <a:t>Click to edit Master text styles</a:t>
            </a:r>
          </a:p>
        </p:txBody>
      </p:sp>
      <p:sp>
        <p:nvSpPr>
          <p:cNvPr id="16" name="Text Placeholder 4"/>
          <p:cNvSpPr>
            <a:spLocks noGrp="1"/>
          </p:cNvSpPr>
          <p:nvPr>
            <p:ph type="body" sz="quarter" idx="24"/>
          </p:nvPr>
        </p:nvSpPr>
        <p:spPr>
          <a:xfrm>
            <a:off x="3200400" y="3103381"/>
            <a:ext cx="8280397" cy="1499377"/>
          </a:xfrm>
          <a:prstGeom prst="rect">
            <a:avLst/>
          </a:prstGeom>
        </p:spPr>
        <p:txBody>
          <a:bodyPr anchor="ctr"/>
          <a:lstStyle>
            <a:lvl1pPr>
              <a:defRPr>
                <a:latin typeface="+mn-lt"/>
                <a:cs typeface="Arial" panose="020B0604020202020204" pitchFamily="34" charset="0"/>
              </a:defRPr>
            </a:lvl1pPr>
          </a:lstStyle>
          <a:p>
            <a:pPr lvl="0"/>
            <a:r>
              <a:rPr lang="en-US"/>
              <a:t>Click to edit Master text styles</a:t>
            </a:r>
          </a:p>
        </p:txBody>
      </p:sp>
      <p:sp>
        <p:nvSpPr>
          <p:cNvPr id="17" name="Text Placeholder 4"/>
          <p:cNvSpPr>
            <a:spLocks noGrp="1"/>
          </p:cNvSpPr>
          <p:nvPr>
            <p:ph type="body" sz="quarter" idx="25"/>
          </p:nvPr>
        </p:nvSpPr>
        <p:spPr>
          <a:xfrm>
            <a:off x="3200400" y="4749022"/>
            <a:ext cx="8280397" cy="1499377"/>
          </a:xfrm>
          <a:prstGeom prst="rect">
            <a:avLst/>
          </a:prstGeom>
        </p:spPr>
        <p:txBody>
          <a:bodyPr anchor="ctr"/>
          <a:lstStyle>
            <a:lvl1pPr>
              <a:defRPr>
                <a:latin typeface="+mn-lt"/>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05146243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porthole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5E4703F-2FCF-D381-B187-9A847C90C29F}"/>
              </a:ext>
            </a:extLst>
          </p:cNvPr>
          <p:cNvGraphicFramePr>
            <a:graphicFrameLocks noChangeAspect="1"/>
          </p:cNvGraphicFramePr>
          <p:nvPr userDrawn="1">
            <p:custDataLst>
              <p:tags r:id="rId1"/>
            </p:custDataLst>
            <p:extLst>
              <p:ext uri="{D42A27DB-BD31-4B8C-83A1-F6EECF244321}">
                <p14:modId xmlns:p14="http://schemas.microsoft.com/office/powerpoint/2010/main" val="76148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65E4703F-2FCF-D381-B187-9A847C90C2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14">
            <a:extLst>
              <a:ext uri="{FF2B5EF4-FFF2-40B4-BE49-F238E27FC236}">
                <a16:creationId xmlns:a16="http://schemas.microsoft.com/office/drawing/2014/main" id="{EF10FF48-37CD-D54E-B9CF-A471765D6E7D}"/>
              </a:ext>
            </a:extLst>
          </p:cNvPr>
          <p:cNvSpPr>
            <a:spLocks noGrp="1" noChangeAspect="1"/>
          </p:cNvSpPr>
          <p:nvPr userDrawn="1">
            <p:ph type="pic" sz="quarter" idx="10"/>
          </p:nvPr>
        </p:nvSpPr>
        <p:spPr>
          <a:xfrm>
            <a:off x="1739900" y="1676400"/>
            <a:ext cx="1600200" cy="1600200"/>
          </a:xfrm>
          <a:prstGeom prst="ellipse">
            <a:avLst/>
          </a:prstGeom>
          <a:noFill/>
        </p:spPr>
        <p:txBody>
          <a:bodyPr/>
          <a:lstStyle>
            <a:lvl1pPr>
              <a:defRPr>
                <a:noFill/>
                <a:latin typeface="+mn-lt"/>
                <a:cs typeface="Arial" panose="020B0604020202020204" pitchFamily="34" charset="0"/>
              </a:defRPr>
            </a:lvl1pPr>
          </a:lstStyle>
          <a:p>
            <a:endParaRPr lang="en-US"/>
          </a:p>
        </p:txBody>
      </p:sp>
      <p:sp>
        <p:nvSpPr>
          <p:cNvPr id="34" name="Picture Placeholder 14">
            <a:extLst>
              <a:ext uri="{FF2B5EF4-FFF2-40B4-BE49-F238E27FC236}">
                <a16:creationId xmlns:a16="http://schemas.microsoft.com/office/drawing/2014/main" id="{05BB31E1-9F03-E548-B5F5-2A2697E1C5A9}"/>
              </a:ext>
            </a:extLst>
          </p:cNvPr>
          <p:cNvSpPr>
            <a:spLocks noGrp="1" noChangeAspect="1"/>
          </p:cNvSpPr>
          <p:nvPr>
            <p:ph type="pic" sz="quarter" idx="11"/>
          </p:nvPr>
        </p:nvSpPr>
        <p:spPr>
          <a:xfrm>
            <a:off x="5118100" y="1676400"/>
            <a:ext cx="1600200" cy="1600200"/>
          </a:xfrm>
          <a:prstGeom prst="ellipse">
            <a:avLst/>
          </a:prstGeom>
          <a:noFill/>
        </p:spPr>
        <p:txBody>
          <a:bodyPr/>
          <a:lstStyle>
            <a:lvl1pPr>
              <a:defRPr>
                <a:noFill/>
                <a:latin typeface="+mn-lt"/>
                <a:cs typeface="Arial" panose="020B0604020202020204" pitchFamily="34" charset="0"/>
              </a:defRPr>
            </a:lvl1pPr>
          </a:lstStyle>
          <a:p>
            <a:endParaRPr lang="en-US"/>
          </a:p>
        </p:txBody>
      </p:sp>
      <p:sp>
        <p:nvSpPr>
          <p:cNvPr id="35" name="Picture Placeholder 14">
            <a:extLst>
              <a:ext uri="{FF2B5EF4-FFF2-40B4-BE49-F238E27FC236}">
                <a16:creationId xmlns:a16="http://schemas.microsoft.com/office/drawing/2014/main" id="{78A92355-480A-2548-82ED-4A4FD9E044A5}"/>
              </a:ext>
            </a:extLst>
          </p:cNvPr>
          <p:cNvSpPr>
            <a:spLocks noGrp="1" noChangeAspect="1"/>
          </p:cNvSpPr>
          <p:nvPr>
            <p:ph type="pic" sz="quarter" idx="12"/>
          </p:nvPr>
        </p:nvSpPr>
        <p:spPr>
          <a:xfrm>
            <a:off x="8496300" y="1676400"/>
            <a:ext cx="1600200" cy="1600200"/>
          </a:xfrm>
          <a:prstGeom prst="ellipse">
            <a:avLst/>
          </a:prstGeom>
          <a:noFill/>
        </p:spPr>
        <p:txBody>
          <a:bodyPr/>
          <a:lstStyle>
            <a:lvl1pPr>
              <a:defRPr>
                <a:noFill/>
                <a:latin typeface="+mn-lt"/>
                <a:cs typeface="Arial" panose="020B0604020202020204" pitchFamily="34" charset="0"/>
              </a:defRPr>
            </a:lvl1pPr>
          </a:lstStyle>
          <a:p>
            <a:endParaRPr lang="en-US"/>
          </a:p>
        </p:txBody>
      </p:sp>
      <p:sp>
        <p:nvSpPr>
          <p:cNvPr id="2" name="Title 1"/>
          <p:cNvSpPr>
            <a:spLocks noGrp="1"/>
          </p:cNvSpPr>
          <p:nvPr>
            <p:ph type="title" hasCustomPrompt="1"/>
          </p:nvPr>
        </p:nvSpPr>
        <p:spPr>
          <a:xfrm>
            <a:off x="355600" y="382589"/>
            <a:ext cx="11125200" cy="350837"/>
          </a:xfrm>
          <a:prstGeom prst="rect">
            <a:avLst/>
          </a:prstGeom>
        </p:spPr>
        <p:txBody>
          <a:bodyPr vert="horz"/>
          <a:lstStyle>
            <a:lvl1pPr>
              <a:defRPr>
                <a:latin typeface="+mn-lt"/>
                <a:cs typeface="Arial" panose="020B0604020202020204" pitchFamily="34" charset="0"/>
              </a:defRPr>
            </a:lvl1pPr>
          </a:lstStyle>
          <a:p>
            <a:r>
              <a:rPr lang="en-US" b="1"/>
              <a:t>Title (try to keep this to one line)</a:t>
            </a:r>
            <a:endParaRPr lang="en-US"/>
          </a:p>
        </p:txBody>
      </p:sp>
      <p:sp>
        <p:nvSpPr>
          <p:cNvPr id="6" name="Text Placeholder 3"/>
          <p:cNvSpPr>
            <a:spLocks noGrp="1"/>
          </p:cNvSpPr>
          <p:nvPr>
            <p:ph type="body" sz="quarter" idx="13" hasCustomPrompt="1"/>
          </p:nvPr>
        </p:nvSpPr>
        <p:spPr>
          <a:xfrm>
            <a:off x="355600" y="760265"/>
            <a:ext cx="111252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Tree>
    <p:extLst>
      <p:ext uri="{BB962C8B-B14F-4D97-AF65-F5344CB8AC3E}">
        <p14:creationId xmlns:p14="http://schemas.microsoft.com/office/powerpoint/2010/main" val="221871546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artners Grid - 8">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809B085-66D5-7F8A-602E-820BD8061090}"/>
              </a:ext>
            </a:extLst>
          </p:cNvPr>
          <p:cNvGraphicFramePr>
            <a:graphicFrameLocks noChangeAspect="1"/>
          </p:cNvGraphicFramePr>
          <p:nvPr userDrawn="1">
            <p:custDataLst>
              <p:tags r:id="rId1"/>
            </p:custDataLst>
            <p:extLst>
              <p:ext uri="{D42A27DB-BD31-4B8C-83A1-F6EECF244321}">
                <p14:modId xmlns:p14="http://schemas.microsoft.com/office/powerpoint/2010/main" val="248218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C809B085-66D5-7F8A-602E-820BD80610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77FCE776-8495-4D45-8D71-F729271AFC13}"/>
              </a:ext>
            </a:extLst>
          </p:cNvPr>
          <p:cNvCxnSpPr>
            <a:cxnSpLocks/>
          </p:cNvCxnSpPr>
          <p:nvPr userDrawn="1"/>
        </p:nvCxnSpPr>
        <p:spPr>
          <a:xfrm>
            <a:off x="685800" y="3467100"/>
            <a:ext cx="10769600" cy="0"/>
          </a:xfrm>
          <a:prstGeom prst="line">
            <a:avLst/>
          </a:prstGeom>
          <a:ln w="3175">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3BB5916-EB4A-8E4D-BB9D-7824297E95D7}"/>
              </a:ext>
            </a:extLst>
          </p:cNvPr>
          <p:cNvCxnSpPr>
            <a:cxnSpLocks/>
          </p:cNvCxnSpPr>
          <p:nvPr userDrawn="1"/>
        </p:nvCxnSpPr>
        <p:spPr>
          <a:xfrm>
            <a:off x="6070600" y="2491529"/>
            <a:ext cx="0" cy="1833128"/>
          </a:xfrm>
          <a:prstGeom prst="line">
            <a:avLst/>
          </a:prstGeom>
          <a:ln w="3175">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446863-29EC-424A-91F7-CB7DB42ABF3C}"/>
              </a:ext>
            </a:extLst>
          </p:cNvPr>
          <p:cNvCxnSpPr>
            <a:cxnSpLocks/>
          </p:cNvCxnSpPr>
          <p:nvPr userDrawn="1"/>
        </p:nvCxnSpPr>
        <p:spPr>
          <a:xfrm>
            <a:off x="8813800" y="2514600"/>
            <a:ext cx="0" cy="1833128"/>
          </a:xfrm>
          <a:prstGeom prst="line">
            <a:avLst/>
          </a:prstGeom>
          <a:ln w="3175">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CF8BABB-C4C4-F048-A7EE-F11684C472DA}"/>
              </a:ext>
            </a:extLst>
          </p:cNvPr>
          <p:cNvCxnSpPr>
            <a:cxnSpLocks/>
          </p:cNvCxnSpPr>
          <p:nvPr userDrawn="1"/>
        </p:nvCxnSpPr>
        <p:spPr>
          <a:xfrm>
            <a:off x="3327400" y="2434072"/>
            <a:ext cx="0" cy="1833128"/>
          </a:xfrm>
          <a:prstGeom prst="line">
            <a:avLst/>
          </a:prstGeom>
          <a:ln w="3175">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23" name="Picture Placeholder 14">
            <a:extLst>
              <a:ext uri="{FF2B5EF4-FFF2-40B4-BE49-F238E27FC236}">
                <a16:creationId xmlns:a16="http://schemas.microsoft.com/office/drawing/2014/main" id="{B6801C88-EC89-B442-A666-5B215CF755EA}"/>
              </a:ext>
            </a:extLst>
          </p:cNvPr>
          <p:cNvSpPr>
            <a:spLocks noGrp="1"/>
          </p:cNvSpPr>
          <p:nvPr userDrawn="1">
            <p:ph type="pic" sz="quarter" idx="11"/>
          </p:nvPr>
        </p:nvSpPr>
        <p:spPr>
          <a:xfrm>
            <a:off x="3801534" y="3733800"/>
            <a:ext cx="1823065" cy="914400"/>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25" name="Picture Placeholder 14">
            <a:extLst>
              <a:ext uri="{FF2B5EF4-FFF2-40B4-BE49-F238E27FC236}">
                <a16:creationId xmlns:a16="http://schemas.microsoft.com/office/drawing/2014/main" id="{ECC4CFCE-A245-3348-B3A9-6DF1C9394D7D}"/>
              </a:ext>
            </a:extLst>
          </p:cNvPr>
          <p:cNvSpPr>
            <a:spLocks noGrp="1"/>
          </p:cNvSpPr>
          <p:nvPr userDrawn="1">
            <p:ph type="pic" sz="quarter" idx="13"/>
          </p:nvPr>
        </p:nvSpPr>
        <p:spPr>
          <a:xfrm>
            <a:off x="1092201" y="3733800"/>
            <a:ext cx="1823065" cy="914400"/>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27" name="Picture Placeholder 14">
            <a:extLst>
              <a:ext uri="{FF2B5EF4-FFF2-40B4-BE49-F238E27FC236}">
                <a16:creationId xmlns:a16="http://schemas.microsoft.com/office/drawing/2014/main" id="{94D0859E-6AA5-344E-B1EF-7E1DEA942983}"/>
              </a:ext>
            </a:extLst>
          </p:cNvPr>
          <p:cNvSpPr>
            <a:spLocks noGrp="1"/>
          </p:cNvSpPr>
          <p:nvPr userDrawn="1">
            <p:ph type="pic" sz="quarter" idx="15"/>
          </p:nvPr>
        </p:nvSpPr>
        <p:spPr>
          <a:xfrm>
            <a:off x="6510868" y="3733800"/>
            <a:ext cx="1823065" cy="914400"/>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29" name="Picture Placeholder 14">
            <a:extLst>
              <a:ext uri="{FF2B5EF4-FFF2-40B4-BE49-F238E27FC236}">
                <a16:creationId xmlns:a16="http://schemas.microsoft.com/office/drawing/2014/main" id="{98BED505-7117-AB4E-8AC2-A413913919F0}"/>
              </a:ext>
            </a:extLst>
          </p:cNvPr>
          <p:cNvSpPr>
            <a:spLocks noGrp="1"/>
          </p:cNvSpPr>
          <p:nvPr userDrawn="1">
            <p:ph type="pic" sz="quarter" idx="17"/>
          </p:nvPr>
        </p:nvSpPr>
        <p:spPr>
          <a:xfrm>
            <a:off x="9220201" y="3733800"/>
            <a:ext cx="1823065" cy="914400"/>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46" name="Picture Placeholder 14">
            <a:extLst>
              <a:ext uri="{FF2B5EF4-FFF2-40B4-BE49-F238E27FC236}">
                <a16:creationId xmlns:a16="http://schemas.microsoft.com/office/drawing/2014/main" id="{615C6F5E-5D32-664C-AEB3-551581600584}"/>
              </a:ext>
            </a:extLst>
          </p:cNvPr>
          <p:cNvSpPr>
            <a:spLocks noGrp="1"/>
          </p:cNvSpPr>
          <p:nvPr>
            <p:ph type="pic" sz="quarter" idx="18"/>
          </p:nvPr>
        </p:nvSpPr>
        <p:spPr>
          <a:xfrm>
            <a:off x="3801534" y="2286000"/>
            <a:ext cx="1823065" cy="914400"/>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47" name="Picture Placeholder 14">
            <a:extLst>
              <a:ext uri="{FF2B5EF4-FFF2-40B4-BE49-F238E27FC236}">
                <a16:creationId xmlns:a16="http://schemas.microsoft.com/office/drawing/2014/main" id="{34810C26-52E1-2244-8229-F5438E29E6A1}"/>
              </a:ext>
            </a:extLst>
          </p:cNvPr>
          <p:cNvSpPr>
            <a:spLocks noGrp="1"/>
          </p:cNvSpPr>
          <p:nvPr>
            <p:ph type="pic" sz="quarter" idx="19"/>
          </p:nvPr>
        </p:nvSpPr>
        <p:spPr>
          <a:xfrm>
            <a:off x="1092201" y="2286000"/>
            <a:ext cx="1823065" cy="914400"/>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48" name="Picture Placeholder 14">
            <a:extLst>
              <a:ext uri="{FF2B5EF4-FFF2-40B4-BE49-F238E27FC236}">
                <a16:creationId xmlns:a16="http://schemas.microsoft.com/office/drawing/2014/main" id="{FD1E2A9B-B3BE-4A47-BBD5-D61BC37212F6}"/>
              </a:ext>
            </a:extLst>
          </p:cNvPr>
          <p:cNvSpPr>
            <a:spLocks noGrp="1"/>
          </p:cNvSpPr>
          <p:nvPr>
            <p:ph type="pic" sz="quarter" idx="20"/>
          </p:nvPr>
        </p:nvSpPr>
        <p:spPr>
          <a:xfrm>
            <a:off x="6510868" y="2286000"/>
            <a:ext cx="1823065" cy="914400"/>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49" name="Picture Placeholder 14">
            <a:extLst>
              <a:ext uri="{FF2B5EF4-FFF2-40B4-BE49-F238E27FC236}">
                <a16:creationId xmlns:a16="http://schemas.microsoft.com/office/drawing/2014/main" id="{7C43B190-3717-BF4A-9F73-652E0F708CEE}"/>
              </a:ext>
            </a:extLst>
          </p:cNvPr>
          <p:cNvSpPr>
            <a:spLocks noGrp="1"/>
          </p:cNvSpPr>
          <p:nvPr>
            <p:ph type="pic" sz="quarter" idx="21"/>
          </p:nvPr>
        </p:nvSpPr>
        <p:spPr>
          <a:xfrm>
            <a:off x="9220201" y="2286000"/>
            <a:ext cx="1823065" cy="914400"/>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2" name="Title 1"/>
          <p:cNvSpPr>
            <a:spLocks noGrp="1"/>
          </p:cNvSpPr>
          <p:nvPr>
            <p:ph type="title" hasCustomPrompt="1"/>
          </p:nvPr>
        </p:nvSpPr>
        <p:spPr>
          <a:xfrm>
            <a:off x="355600" y="382589"/>
            <a:ext cx="11125200" cy="350837"/>
          </a:xfrm>
          <a:prstGeom prst="rect">
            <a:avLst/>
          </a:prstGeom>
        </p:spPr>
        <p:txBody>
          <a:bodyPr vert="horz"/>
          <a:lstStyle>
            <a:lvl1pPr>
              <a:defRPr>
                <a:latin typeface="+mn-lt"/>
                <a:cs typeface="Arial" panose="020B0604020202020204" pitchFamily="34" charset="0"/>
              </a:defRPr>
            </a:lvl1pPr>
          </a:lstStyle>
          <a:p>
            <a:r>
              <a:rPr lang="en-US" b="1"/>
              <a:t>Title (try to keep this to one line)</a:t>
            </a:r>
            <a:endParaRPr lang="en-US"/>
          </a:p>
        </p:txBody>
      </p:sp>
      <p:sp>
        <p:nvSpPr>
          <p:cNvPr id="15" name="Text Placeholder 3"/>
          <p:cNvSpPr>
            <a:spLocks noGrp="1"/>
          </p:cNvSpPr>
          <p:nvPr>
            <p:ph type="body" sz="quarter" idx="22" hasCustomPrompt="1"/>
          </p:nvPr>
        </p:nvSpPr>
        <p:spPr>
          <a:xfrm>
            <a:off x="355600" y="760265"/>
            <a:ext cx="111252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Tree>
    <p:extLst>
      <p:ext uri="{BB962C8B-B14F-4D97-AF65-F5344CB8AC3E}">
        <p14:creationId xmlns:p14="http://schemas.microsoft.com/office/powerpoint/2010/main" val="284049894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Half">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13B7BB5-0C8E-9FE5-2769-BEEA6EAE8626}"/>
              </a:ext>
            </a:extLst>
          </p:cNvPr>
          <p:cNvGraphicFramePr>
            <a:graphicFrameLocks noChangeAspect="1"/>
          </p:cNvGraphicFramePr>
          <p:nvPr userDrawn="1">
            <p:custDataLst>
              <p:tags r:id="rId1"/>
            </p:custDataLst>
            <p:extLst>
              <p:ext uri="{D42A27DB-BD31-4B8C-83A1-F6EECF244321}">
                <p14:modId xmlns:p14="http://schemas.microsoft.com/office/powerpoint/2010/main" val="4011684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213B7BB5-0C8E-9FE5-2769-BEEA6EAE86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8">
            <a:extLst>
              <a:ext uri="{FF2B5EF4-FFF2-40B4-BE49-F238E27FC236}">
                <a16:creationId xmlns:a16="http://schemas.microsoft.com/office/drawing/2014/main" id="{D684FC71-5110-D740-A668-A3F85F5AA6D4}"/>
              </a:ext>
            </a:extLst>
          </p:cNvPr>
          <p:cNvSpPr>
            <a:spLocks noGrp="1"/>
          </p:cNvSpPr>
          <p:nvPr>
            <p:ph type="pic" sz="quarter" idx="10"/>
          </p:nvPr>
        </p:nvSpPr>
        <p:spPr>
          <a:xfrm>
            <a:off x="6197601" y="0"/>
            <a:ext cx="5994399" cy="6248400"/>
          </a:xfrm>
          <a:prstGeom prst="rect">
            <a:avLst/>
          </a:prstGeom>
          <a:pattFill prst="pct20">
            <a:fgClr>
              <a:schemeClr val="tx2"/>
            </a:fgClr>
            <a:bgClr>
              <a:schemeClr val="bg1"/>
            </a:bgClr>
          </a:pattFill>
        </p:spPr>
        <p:txBody>
          <a:bodyPr/>
          <a:lstStyle>
            <a:lvl1pPr>
              <a:defRPr>
                <a:noFill/>
                <a:latin typeface="Arial" panose="020B0604020202020204" pitchFamily="34" charset="0"/>
                <a:cs typeface="Arial" panose="020B0604020202020204" pitchFamily="34" charset="0"/>
              </a:defRPr>
            </a:lvl1pPr>
          </a:lstStyle>
          <a:p>
            <a:r>
              <a:rPr lang="en-US"/>
              <a:t>Click icon to add picture</a:t>
            </a:r>
          </a:p>
        </p:txBody>
      </p:sp>
      <p:sp>
        <p:nvSpPr>
          <p:cNvPr id="7" name="Rectangle 6">
            <a:extLst>
              <a:ext uri="{FF2B5EF4-FFF2-40B4-BE49-F238E27FC236}">
                <a16:creationId xmlns:a16="http://schemas.microsoft.com/office/drawing/2014/main" id="{E18A98E0-A683-C948-BDAF-D8D28484F336}"/>
              </a:ext>
            </a:extLst>
          </p:cNvPr>
          <p:cNvSpPr/>
          <p:nvPr userDrawn="1"/>
        </p:nvSpPr>
        <p:spPr>
          <a:xfrm>
            <a:off x="0" y="0"/>
            <a:ext cx="6197600" cy="624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2" name="Title 1"/>
          <p:cNvSpPr>
            <a:spLocks noGrp="1"/>
          </p:cNvSpPr>
          <p:nvPr>
            <p:ph type="title" hasCustomPrompt="1"/>
          </p:nvPr>
        </p:nvSpPr>
        <p:spPr>
          <a:xfrm>
            <a:off x="355600" y="609599"/>
            <a:ext cx="5283200" cy="624145"/>
          </a:xfrm>
          <a:prstGeom prst="rect">
            <a:avLst/>
          </a:prstGeom>
        </p:spPr>
        <p:txBody>
          <a:bodyPr vert="horz" wrap="square" lIns="0" tIns="0" rIns="0" bIns="0" anchor="t" anchorCtr="0">
            <a:spAutoFit/>
          </a:bodyPr>
          <a:lstStyle>
            <a:lvl1pPr marL="0" indent="0" algn="l">
              <a:lnSpc>
                <a:spcPts val="4800"/>
              </a:lnSpc>
              <a:spcBef>
                <a:spcPts val="1000"/>
              </a:spcBef>
              <a:spcAft>
                <a:spcPts val="0"/>
              </a:spcAft>
              <a:defRPr sz="4800" b="1" i="0" u="none" kern="1200" spc="0">
                <a:solidFill>
                  <a:schemeClr val="bg1">
                    <a:lumMod val="100000"/>
                  </a:schemeClr>
                </a:solidFill>
                <a:latin typeface="Arial" panose="020B0604020202020204" pitchFamily="34" charset="0"/>
                <a:cs typeface="Arial" panose="020B0604020202020204" pitchFamily="34" charset="0"/>
              </a:defRPr>
            </a:lvl1pPr>
          </a:lstStyle>
          <a:p>
            <a:pPr lvl="0"/>
            <a:r>
              <a:rPr lang="en-US"/>
              <a:t>Presentation Title</a:t>
            </a:r>
          </a:p>
        </p:txBody>
      </p:sp>
      <p:sp>
        <p:nvSpPr>
          <p:cNvPr id="5" name="Text Placeholder 11">
            <a:extLst>
              <a:ext uri="{FF2B5EF4-FFF2-40B4-BE49-F238E27FC236}">
                <a16:creationId xmlns:a16="http://schemas.microsoft.com/office/drawing/2014/main" id="{6E4E4942-2098-9A4B-B569-8C98BEE5A890}"/>
              </a:ext>
            </a:extLst>
          </p:cNvPr>
          <p:cNvSpPr>
            <a:spLocks noGrp="1"/>
          </p:cNvSpPr>
          <p:nvPr>
            <p:ph type="body" sz="quarter" idx="12" hasCustomPrompt="1"/>
          </p:nvPr>
        </p:nvSpPr>
        <p:spPr>
          <a:xfrm>
            <a:off x="355600" y="3429001"/>
            <a:ext cx="5283200" cy="829733"/>
          </a:xfrm>
          <a:prstGeom prst="rect">
            <a:avLst/>
          </a:prstGeom>
        </p:spPr>
        <p:txBody>
          <a:bodyPr lIns="0" tIns="0" rIns="0" bIns="0"/>
          <a:lstStyle>
            <a:lvl1pPr marL="0" indent="0">
              <a:buNone/>
              <a:defRPr sz="1800" b="0" i="0">
                <a:solidFill>
                  <a:schemeClr val="bg1"/>
                </a:solidFill>
                <a:latin typeface="Arial" panose="020B0604020202020204" pitchFamily="34" charset="0"/>
                <a:cs typeface="Arial" panose="020B0604020202020204" pitchFamily="34" charset="0"/>
              </a:defRPr>
            </a:lvl1pPr>
          </a:lstStyle>
          <a:p>
            <a:pPr lvl="0"/>
            <a:r>
              <a:rPr lang="en-US"/>
              <a:t>Presenter Name</a:t>
            </a:r>
          </a:p>
        </p:txBody>
      </p:sp>
      <p:sp>
        <p:nvSpPr>
          <p:cNvPr id="6" name="Text Placeholder 11">
            <a:extLst>
              <a:ext uri="{FF2B5EF4-FFF2-40B4-BE49-F238E27FC236}">
                <a16:creationId xmlns:a16="http://schemas.microsoft.com/office/drawing/2014/main" id="{E6CA7BF4-EA95-BC44-A488-86728B6244F8}"/>
              </a:ext>
            </a:extLst>
          </p:cNvPr>
          <p:cNvSpPr>
            <a:spLocks noGrp="1"/>
          </p:cNvSpPr>
          <p:nvPr>
            <p:ph type="body" sz="quarter" idx="13" hasCustomPrompt="1"/>
          </p:nvPr>
        </p:nvSpPr>
        <p:spPr>
          <a:xfrm>
            <a:off x="355600" y="1848118"/>
            <a:ext cx="5283200" cy="543418"/>
          </a:xfrm>
          <a:prstGeom prst="rect">
            <a:avLst/>
          </a:prstGeom>
        </p:spPr>
        <p:txBody>
          <a:bodyPr wrap="square" lIns="0" tIns="0" rIns="0" bIns="0">
            <a:spAutoFit/>
          </a:bodyPr>
          <a:lstStyle>
            <a:lvl1pPr marL="0" indent="0">
              <a:lnSpc>
                <a:spcPts val="4800"/>
              </a:lnSpc>
              <a:buNone/>
              <a:defRPr sz="2800" b="1" i="0">
                <a:solidFill>
                  <a:schemeClr val="tx2">
                    <a:lumMod val="20000"/>
                    <a:lumOff val="80000"/>
                  </a:schemeClr>
                </a:solidFill>
                <a:latin typeface="Arial" panose="020B0604020202020204" pitchFamily="34" charset="0"/>
                <a:cs typeface="Arial" panose="020B0604020202020204" pitchFamily="34" charset="0"/>
              </a:defRPr>
            </a:lvl1pPr>
          </a:lstStyle>
          <a:p>
            <a:pPr lvl="0"/>
            <a:r>
              <a:rPr lang="en-US"/>
              <a:t>Sub-title</a:t>
            </a:r>
          </a:p>
        </p:txBody>
      </p:sp>
    </p:spTree>
    <p:extLst>
      <p:ext uri="{BB962C8B-B14F-4D97-AF65-F5344CB8AC3E}">
        <p14:creationId xmlns:p14="http://schemas.microsoft.com/office/powerpoint/2010/main" val="17415226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artners Grid - 6">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CF6A3C0-6764-027B-32C9-8B772A25D9CC}"/>
              </a:ext>
            </a:extLst>
          </p:cNvPr>
          <p:cNvGraphicFramePr>
            <a:graphicFrameLocks noChangeAspect="1"/>
          </p:cNvGraphicFramePr>
          <p:nvPr userDrawn="1">
            <p:custDataLst>
              <p:tags r:id="rId1"/>
            </p:custDataLst>
            <p:extLst>
              <p:ext uri="{D42A27DB-BD31-4B8C-83A1-F6EECF244321}">
                <p14:modId xmlns:p14="http://schemas.microsoft.com/office/powerpoint/2010/main" val="1573933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6CF6A3C0-6764-027B-32C9-8B772A25D9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77FCE776-8495-4D45-8D71-F729271AFC13}"/>
              </a:ext>
            </a:extLst>
          </p:cNvPr>
          <p:cNvCxnSpPr>
            <a:cxnSpLocks/>
          </p:cNvCxnSpPr>
          <p:nvPr userDrawn="1"/>
        </p:nvCxnSpPr>
        <p:spPr>
          <a:xfrm>
            <a:off x="1016000" y="3463697"/>
            <a:ext cx="10100235" cy="0"/>
          </a:xfrm>
          <a:prstGeom prst="line">
            <a:avLst/>
          </a:prstGeom>
          <a:ln w="3175">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3BB5916-EB4A-8E4D-BB9D-7824297E95D7}"/>
              </a:ext>
            </a:extLst>
          </p:cNvPr>
          <p:cNvCxnSpPr>
            <a:cxnSpLocks/>
          </p:cNvCxnSpPr>
          <p:nvPr userDrawn="1"/>
        </p:nvCxnSpPr>
        <p:spPr>
          <a:xfrm flipH="1">
            <a:off x="7745567" y="2146362"/>
            <a:ext cx="1" cy="2453156"/>
          </a:xfrm>
          <a:prstGeom prst="line">
            <a:avLst/>
          </a:prstGeom>
          <a:ln w="3175">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CF8BABB-C4C4-F048-A7EE-F11684C472DA}"/>
              </a:ext>
            </a:extLst>
          </p:cNvPr>
          <p:cNvCxnSpPr>
            <a:cxnSpLocks/>
          </p:cNvCxnSpPr>
          <p:nvPr userDrawn="1"/>
        </p:nvCxnSpPr>
        <p:spPr>
          <a:xfrm flipH="1">
            <a:off x="4446434" y="2237119"/>
            <a:ext cx="1" cy="2453156"/>
          </a:xfrm>
          <a:prstGeom prst="line">
            <a:avLst/>
          </a:prstGeom>
          <a:ln w="3175">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23" name="Picture Placeholder 14">
            <a:extLst>
              <a:ext uri="{FF2B5EF4-FFF2-40B4-BE49-F238E27FC236}">
                <a16:creationId xmlns:a16="http://schemas.microsoft.com/office/drawing/2014/main" id="{B6801C88-EC89-B442-A666-5B215CF755EA}"/>
              </a:ext>
            </a:extLst>
          </p:cNvPr>
          <p:cNvSpPr>
            <a:spLocks noGrp="1"/>
          </p:cNvSpPr>
          <p:nvPr userDrawn="1">
            <p:ph type="pic" sz="quarter" idx="11"/>
          </p:nvPr>
        </p:nvSpPr>
        <p:spPr>
          <a:xfrm>
            <a:off x="4727269" y="3658319"/>
            <a:ext cx="2737465" cy="1373038"/>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25" name="Picture Placeholder 14">
            <a:extLst>
              <a:ext uri="{FF2B5EF4-FFF2-40B4-BE49-F238E27FC236}">
                <a16:creationId xmlns:a16="http://schemas.microsoft.com/office/drawing/2014/main" id="{ECC4CFCE-A245-3348-B3A9-6DF1C9394D7D}"/>
              </a:ext>
            </a:extLst>
          </p:cNvPr>
          <p:cNvSpPr>
            <a:spLocks noGrp="1"/>
          </p:cNvSpPr>
          <p:nvPr userDrawn="1">
            <p:ph type="pic" sz="quarter" idx="13"/>
          </p:nvPr>
        </p:nvSpPr>
        <p:spPr>
          <a:xfrm>
            <a:off x="1422401" y="3658319"/>
            <a:ext cx="2737465" cy="1373038"/>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27" name="Picture Placeholder 14">
            <a:extLst>
              <a:ext uri="{FF2B5EF4-FFF2-40B4-BE49-F238E27FC236}">
                <a16:creationId xmlns:a16="http://schemas.microsoft.com/office/drawing/2014/main" id="{94D0859E-6AA5-344E-B1EF-7E1DEA942983}"/>
              </a:ext>
            </a:extLst>
          </p:cNvPr>
          <p:cNvSpPr>
            <a:spLocks noGrp="1"/>
          </p:cNvSpPr>
          <p:nvPr userDrawn="1">
            <p:ph type="pic" sz="quarter" idx="15"/>
          </p:nvPr>
        </p:nvSpPr>
        <p:spPr>
          <a:xfrm>
            <a:off x="8032136" y="3658319"/>
            <a:ext cx="2737465" cy="1373038"/>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46" name="Picture Placeholder 14">
            <a:extLst>
              <a:ext uri="{FF2B5EF4-FFF2-40B4-BE49-F238E27FC236}">
                <a16:creationId xmlns:a16="http://schemas.microsoft.com/office/drawing/2014/main" id="{615C6F5E-5D32-664C-AEB3-551581600584}"/>
              </a:ext>
            </a:extLst>
          </p:cNvPr>
          <p:cNvSpPr>
            <a:spLocks noGrp="1"/>
          </p:cNvSpPr>
          <p:nvPr>
            <p:ph type="pic" sz="quarter" idx="18"/>
          </p:nvPr>
        </p:nvSpPr>
        <p:spPr>
          <a:xfrm>
            <a:off x="4727269" y="1905000"/>
            <a:ext cx="2737465" cy="1373038"/>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47" name="Picture Placeholder 14">
            <a:extLst>
              <a:ext uri="{FF2B5EF4-FFF2-40B4-BE49-F238E27FC236}">
                <a16:creationId xmlns:a16="http://schemas.microsoft.com/office/drawing/2014/main" id="{34810C26-52E1-2244-8229-F5438E29E6A1}"/>
              </a:ext>
            </a:extLst>
          </p:cNvPr>
          <p:cNvSpPr>
            <a:spLocks noGrp="1"/>
          </p:cNvSpPr>
          <p:nvPr>
            <p:ph type="pic" sz="quarter" idx="19"/>
          </p:nvPr>
        </p:nvSpPr>
        <p:spPr>
          <a:xfrm>
            <a:off x="1428136" y="1913961"/>
            <a:ext cx="2737465" cy="1373038"/>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48" name="Picture Placeholder 14">
            <a:extLst>
              <a:ext uri="{FF2B5EF4-FFF2-40B4-BE49-F238E27FC236}">
                <a16:creationId xmlns:a16="http://schemas.microsoft.com/office/drawing/2014/main" id="{FD1E2A9B-B3BE-4A47-BBD5-D61BC37212F6}"/>
              </a:ext>
            </a:extLst>
          </p:cNvPr>
          <p:cNvSpPr>
            <a:spLocks noGrp="1"/>
          </p:cNvSpPr>
          <p:nvPr>
            <p:ph type="pic" sz="quarter" idx="20"/>
          </p:nvPr>
        </p:nvSpPr>
        <p:spPr>
          <a:xfrm>
            <a:off x="8026401" y="1913961"/>
            <a:ext cx="2737465" cy="1373038"/>
          </a:xfrm>
          <a:prstGeom prst="rect">
            <a:avLst/>
          </a:prstGeom>
          <a:noFill/>
        </p:spPr>
        <p:txBody>
          <a:bodyPr/>
          <a:lstStyle>
            <a:lvl1pPr>
              <a:defRPr>
                <a:noFill/>
                <a:latin typeface="+mn-lt"/>
                <a:cs typeface="Arial" panose="020B0604020202020204" pitchFamily="34" charset="0"/>
              </a:defRPr>
            </a:lvl1pPr>
          </a:lstStyle>
          <a:p>
            <a:endParaRPr lang="en-US"/>
          </a:p>
        </p:txBody>
      </p:sp>
      <p:sp>
        <p:nvSpPr>
          <p:cNvPr id="2" name="Title 1"/>
          <p:cNvSpPr>
            <a:spLocks noGrp="1"/>
          </p:cNvSpPr>
          <p:nvPr>
            <p:ph type="title" hasCustomPrompt="1"/>
          </p:nvPr>
        </p:nvSpPr>
        <p:spPr>
          <a:xfrm>
            <a:off x="355600" y="382589"/>
            <a:ext cx="11125200" cy="350837"/>
          </a:xfrm>
          <a:prstGeom prst="rect">
            <a:avLst/>
          </a:prstGeom>
        </p:spPr>
        <p:txBody>
          <a:bodyPr vert="horz"/>
          <a:lstStyle>
            <a:lvl1pPr>
              <a:defRPr>
                <a:latin typeface="+mn-lt"/>
                <a:cs typeface="Arial" panose="020B0604020202020204" pitchFamily="34" charset="0"/>
              </a:defRPr>
            </a:lvl1pPr>
          </a:lstStyle>
          <a:p>
            <a:r>
              <a:rPr lang="en-US" b="1"/>
              <a:t>Title (try to keep this to one line)</a:t>
            </a:r>
            <a:endParaRPr lang="en-US"/>
          </a:p>
        </p:txBody>
      </p:sp>
      <p:sp>
        <p:nvSpPr>
          <p:cNvPr id="12" name="Text Placeholder 3"/>
          <p:cNvSpPr>
            <a:spLocks noGrp="1"/>
          </p:cNvSpPr>
          <p:nvPr>
            <p:ph type="body" sz="quarter" idx="21" hasCustomPrompt="1"/>
          </p:nvPr>
        </p:nvSpPr>
        <p:spPr>
          <a:xfrm>
            <a:off x="355600" y="760265"/>
            <a:ext cx="111252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Tree>
    <p:extLst>
      <p:ext uri="{BB962C8B-B14F-4D97-AF65-F5344CB8AC3E}">
        <p14:creationId xmlns:p14="http://schemas.microsoft.com/office/powerpoint/2010/main" val="88098247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sp>
        <p:nvSpPr>
          <p:cNvPr id="8" name="SlideLogoText" hidden="1">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709936" y="6499381"/>
            <a:ext cx="6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kern="12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741623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35B6B5-9369-6547-88DB-A73F146F4A9F}"/>
              </a:ext>
            </a:extLst>
          </p:cNvPr>
          <p:cNvSpPr/>
          <p:nvPr userDrawn="1"/>
        </p:nvSpPr>
        <p:spPr>
          <a:xfrm>
            <a:off x="0" y="0"/>
            <a:ext cx="12192000" cy="624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sp>
        <p:nvSpPr>
          <p:cNvPr id="7" name="Text Placeholder 6">
            <a:extLst>
              <a:ext uri="{FF2B5EF4-FFF2-40B4-BE49-F238E27FC236}">
                <a16:creationId xmlns:a16="http://schemas.microsoft.com/office/drawing/2014/main" id="{FE14F06F-A251-DA41-AC14-6645EA24641A}"/>
              </a:ext>
            </a:extLst>
          </p:cNvPr>
          <p:cNvSpPr>
            <a:spLocks noGrp="1"/>
          </p:cNvSpPr>
          <p:nvPr>
            <p:ph type="body" sz="quarter" idx="10" hasCustomPrompt="1"/>
          </p:nvPr>
        </p:nvSpPr>
        <p:spPr>
          <a:xfrm>
            <a:off x="711200" y="1309302"/>
            <a:ext cx="6197600" cy="138499"/>
          </a:xfrm>
          <a:prstGeom prst="rect">
            <a:avLst/>
          </a:prstGeom>
        </p:spPr>
        <p:txBody>
          <a:bodyPr wrap="square" lIns="0" tIns="0" rIns="0" bIns="0" anchor="b" anchorCtr="0">
            <a:spAutoFit/>
          </a:bodyPr>
          <a:lstStyle>
            <a:lvl1pPr marL="0" indent="0">
              <a:buNone/>
              <a:defRPr sz="1000" b="0" i="1">
                <a:solidFill>
                  <a:schemeClr val="bg1"/>
                </a:solidFill>
                <a:latin typeface="+mn-lt"/>
                <a:cs typeface="Arial" panose="020B0604020202020204" pitchFamily="34" charset="0"/>
              </a:defRPr>
            </a:lvl1pPr>
            <a:lvl2pPr marL="457200" indent="0">
              <a:buNone/>
              <a:defRPr sz="1000" b="0" i="1">
                <a:latin typeface="Georgia" panose="02040502050405020303" pitchFamily="18" charset="0"/>
              </a:defRPr>
            </a:lvl2pPr>
            <a:lvl3pPr marL="914400" indent="0">
              <a:buNone/>
              <a:defRPr sz="1000" b="0" i="1">
                <a:latin typeface="Georgia" panose="02040502050405020303" pitchFamily="18" charset="0"/>
              </a:defRPr>
            </a:lvl3pPr>
            <a:lvl4pPr marL="1371600" indent="0">
              <a:buNone/>
              <a:defRPr sz="1000" b="0" i="1">
                <a:latin typeface="Georgia" panose="02040502050405020303" pitchFamily="18" charset="0"/>
              </a:defRPr>
            </a:lvl4pPr>
            <a:lvl5pPr marL="1828800" indent="0">
              <a:buNone/>
              <a:defRPr sz="1000" b="0" i="1">
                <a:latin typeface="Georgia" panose="02040502050405020303" pitchFamily="18" charset="0"/>
              </a:defRPr>
            </a:lvl5pPr>
          </a:lstStyle>
          <a:p>
            <a:pPr lvl="0"/>
            <a:r>
              <a:rPr lang="en-US"/>
              <a:t>Overline Text Style</a:t>
            </a:r>
          </a:p>
        </p:txBody>
      </p:sp>
      <p:sp>
        <p:nvSpPr>
          <p:cNvPr id="9" name="Text Placeholder 8">
            <a:extLst>
              <a:ext uri="{FF2B5EF4-FFF2-40B4-BE49-F238E27FC236}">
                <a16:creationId xmlns:a16="http://schemas.microsoft.com/office/drawing/2014/main" id="{FE5100DC-6281-1149-95AB-ABEF0612C247}"/>
              </a:ext>
            </a:extLst>
          </p:cNvPr>
          <p:cNvSpPr>
            <a:spLocks noGrp="1"/>
          </p:cNvSpPr>
          <p:nvPr>
            <p:ph type="body" sz="quarter" idx="11" hasCustomPrompt="1"/>
          </p:nvPr>
        </p:nvSpPr>
        <p:spPr>
          <a:xfrm>
            <a:off x="711200" y="1447801"/>
            <a:ext cx="6197600" cy="1425327"/>
          </a:xfrm>
          <a:prstGeom prst="rect">
            <a:avLst/>
          </a:prstGeom>
        </p:spPr>
        <p:txBody>
          <a:bodyPr wrap="square" lIns="0" tIns="91440" rIns="0" bIns="0">
            <a:spAutoFit/>
          </a:bodyPr>
          <a:lstStyle>
            <a:lvl1pPr marL="0" indent="0">
              <a:buNone/>
              <a:defRPr sz="4800" b="1" i="0">
                <a:solidFill>
                  <a:schemeClr val="bg1"/>
                </a:solidFill>
                <a:latin typeface="+mn-lt"/>
                <a:cs typeface="Arial" panose="020B0604020202020204" pitchFamily="34" charset="0"/>
              </a:defRPr>
            </a:lvl1pPr>
            <a:lvl2pPr marL="457200" indent="0">
              <a:buNone/>
              <a:defRPr b="0" i="0">
                <a:solidFill>
                  <a:schemeClr val="bg1"/>
                </a:solidFill>
                <a:latin typeface="Gill Sans Nova Medium" panose="020B0502020204020203" pitchFamily="34" charset="0"/>
              </a:defRPr>
            </a:lvl2pPr>
            <a:lvl3pPr marL="914400" indent="0">
              <a:buNone/>
              <a:defRPr b="0" i="0">
                <a:solidFill>
                  <a:schemeClr val="bg1"/>
                </a:solidFill>
                <a:latin typeface="Gill Sans Nova Medium" panose="020B0502020204020203" pitchFamily="34" charset="0"/>
              </a:defRPr>
            </a:lvl3pPr>
            <a:lvl4pPr marL="1371600" indent="0">
              <a:buNone/>
              <a:defRPr b="0" i="0">
                <a:solidFill>
                  <a:schemeClr val="bg1"/>
                </a:solidFill>
                <a:latin typeface="Gill Sans Nova Medium" panose="020B0502020204020203" pitchFamily="34" charset="0"/>
              </a:defRPr>
            </a:lvl4pPr>
            <a:lvl5pPr marL="1828800" indent="0">
              <a:buNone/>
              <a:defRPr b="0" i="0">
                <a:solidFill>
                  <a:schemeClr val="bg1"/>
                </a:solidFill>
                <a:latin typeface="Gill Sans Nova Medium" panose="020B0502020204020203" pitchFamily="34" charset="0"/>
              </a:defRPr>
            </a:lvl5pPr>
          </a:lstStyle>
          <a:p>
            <a:pPr lvl="0"/>
            <a:r>
              <a:rPr lang="en-US"/>
              <a:t>Section break heading</a:t>
            </a:r>
          </a:p>
        </p:txBody>
      </p:sp>
      <p:grpSp>
        <p:nvGrpSpPr>
          <p:cNvPr id="32" name="Group 31">
            <a:extLst>
              <a:ext uri="{FF2B5EF4-FFF2-40B4-BE49-F238E27FC236}">
                <a16:creationId xmlns:a16="http://schemas.microsoft.com/office/drawing/2014/main" id="{87328A71-A494-8B4F-820C-0B36C5A6C0AA}"/>
              </a:ext>
            </a:extLst>
          </p:cNvPr>
          <p:cNvGrpSpPr/>
          <p:nvPr userDrawn="1"/>
        </p:nvGrpSpPr>
        <p:grpSpPr>
          <a:xfrm>
            <a:off x="10224645" y="2700000"/>
            <a:ext cx="1405755" cy="2876400"/>
            <a:chOff x="7343776" y="2700000"/>
            <a:chExt cx="1379024" cy="2876400"/>
          </a:xfrm>
        </p:grpSpPr>
        <p:sp>
          <p:nvSpPr>
            <p:cNvPr id="29" name="Freeform 28">
              <a:extLst>
                <a:ext uri="{FF2B5EF4-FFF2-40B4-BE49-F238E27FC236}">
                  <a16:creationId xmlns:a16="http://schemas.microsoft.com/office/drawing/2014/main" id="{9180BE09-06B5-DC4B-861C-30307CBBD098}"/>
                </a:ext>
              </a:extLst>
            </p:cNvPr>
            <p:cNvSpPr/>
            <p:nvPr userDrawn="1"/>
          </p:nvSpPr>
          <p:spPr>
            <a:xfrm>
              <a:off x="7343776" y="2776105"/>
              <a:ext cx="1266825" cy="2696443"/>
            </a:xfrm>
            <a:custGeom>
              <a:avLst/>
              <a:gdLst>
                <a:gd name="connsiteX0" fmla="*/ 1266825 w 1266825"/>
                <a:gd name="connsiteY0" fmla="*/ 0 h 2696443"/>
                <a:gd name="connsiteX1" fmla="*/ 1266825 w 1266825"/>
                <a:gd name="connsiteY1" fmla="*/ 2696443 h 2696443"/>
                <a:gd name="connsiteX2" fmla="*/ 1214260 w 1266825"/>
                <a:gd name="connsiteY2" fmla="*/ 2693788 h 2696443"/>
                <a:gd name="connsiteX3" fmla="*/ 0 w 1266825"/>
                <a:gd name="connsiteY3" fmla="*/ 1348221 h 2696443"/>
                <a:gd name="connsiteX4" fmla="*/ 1214260 w 1266825"/>
                <a:gd name="connsiteY4" fmla="*/ 2654 h 2696443"/>
                <a:gd name="connsiteX5" fmla="*/ 1266825 w 1266825"/>
                <a:gd name="connsiteY5" fmla="*/ 0 h 2696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825" h="2696443">
                  <a:moveTo>
                    <a:pt x="1266825" y="0"/>
                  </a:moveTo>
                  <a:lnTo>
                    <a:pt x="1266825" y="2696443"/>
                  </a:lnTo>
                  <a:lnTo>
                    <a:pt x="1214260" y="2693788"/>
                  </a:lnTo>
                  <a:cubicBezTo>
                    <a:pt x="532228" y="2624524"/>
                    <a:pt x="0" y="2048527"/>
                    <a:pt x="0" y="1348221"/>
                  </a:cubicBezTo>
                  <a:cubicBezTo>
                    <a:pt x="0" y="647915"/>
                    <a:pt x="532228" y="71918"/>
                    <a:pt x="1214260" y="2654"/>
                  </a:cubicBezTo>
                  <a:lnTo>
                    <a:pt x="1266825" y="0"/>
                  </a:lnTo>
                  <a:close/>
                </a:path>
              </a:pathLst>
            </a:custGeom>
            <a:no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latin typeface="+mn-lt"/>
                <a:cs typeface="Arial" panose="020B0604020202020204" pitchFamily="34" charset="0"/>
              </a:endParaRPr>
            </a:p>
          </p:txBody>
        </p:sp>
        <p:sp>
          <p:nvSpPr>
            <p:cNvPr id="2" name="Rectangle 1">
              <a:extLst>
                <a:ext uri="{FF2B5EF4-FFF2-40B4-BE49-F238E27FC236}">
                  <a16:creationId xmlns:a16="http://schemas.microsoft.com/office/drawing/2014/main" id="{081ED0BA-0799-FA4D-8583-4A0EFC32B956}"/>
                </a:ext>
              </a:extLst>
            </p:cNvPr>
            <p:cNvSpPr/>
            <p:nvPr userDrawn="1"/>
          </p:nvSpPr>
          <p:spPr>
            <a:xfrm>
              <a:off x="8578800" y="2700000"/>
              <a:ext cx="144000" cy="2876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grpSp>
      <p:sp>
        <p:nvSpPr>
          <p:cNvPr id="46" name="Content Placeholder 45">
            <a:extLst>
              <a:ext uri="{FF2B5EF4-FFF2-40B4-BE49-F238E27FC236}">
                <a16:creationId xmlns:a16="http://schemas.microsoft.com/office/drawing/2014/main" id="{8F0DF677-BD43-DA4E-B8B8-E41225D31D8B}"/>
              </a:ext>
            </a:extLst>
          </p:cNvPr>
          <p:cNvSpPr>
            <a:spLocks noGrp="1"/>
          </p:cNvSpPr>
          <p:nvPr>
            <p:ph sz="quarter" idx="13" hasCustomPrompt="1"/>
          </p:nvPr>
        </p:nvSpPr>
        <p:spPr>
          <a:xfrm>
            <a:off x="10769600" y="3751104"/>
            <a:ext cx="1405755" cy="737616"/>
          </a:xfrm>
          <a:prstGeom prst="rect">
            <a:avLst/>
          </a:prstGeom>
        </p:spPr>
        <p:txBody>
          <a:bodyPr/>
          <a:lstStyle>
            <a:lvl1pPr marL="0" indent="0">
              <a:buNone/>
              <a:defRPr sz="6000" b="1">
                <a:solidFill>
                  <a:schemeClr val="accent1"/>
                </a:solidFill>
                <a:latin typeface="+mn-lt"/>
                <a:cs typeface="Arial" panose="020B0604020202020204" pitchFamily="34" charset="0"/>
              </a:defRPr>
            </a:lvl1pPr>
            <a:lvl2pPr>
              <a:defRPr sz="6000" b="1">
                <a:latin typeface="Gill Sans Nova Medium" panose="020B0602020204020203" pitchFamily="34" charset="0"/>
              </a:defRPr>
            </a:lvl2pPr>
            <a:lvl3pPr>
              <a:defRPr sz="6000" b="1">
                <a:latin typeface="Gill Sans Nova Medium" panose="020B0602020204020203" pitchFamily="34" charset="0"/>
              </a:defRPr>
            </a:lvl3pPr>
            <a:lvl4pPr>
              <a:defRPr sz="6000" b="1">
                <a:latin typeface="Gill Sans Nova Medium" panose="020B0602020204020203" pitchFamily="34" charset="0"/>
              </a:defRPr>
            </a:lvl4pPr>
            <a:lvl5pPr>
              <a:defRPr sz="6000" b="1">
                <a:latin typeface="Gill Sans Nova Medium" panose="020B0602020204020203" pitchFamily="34" charset="0"/>
              </a:defRPr>
            </a:lvl5pPr>
          </a:lstStyle>
          <a:p>
            <a:pPr lvl="0"/>
            <a:r>
              <a:rPr lang="en-US"/>
              <a:t>#</a:t>
            </a:r>
          </a:p>
        </p:txBody>
      </p:sp>
    </p:spTree>
    <p:extLst>
      <p:ext uri="{BB962C8B-B14F-4D97-AF65-F5344CB8AC3E}">
        <p14:creationId xmlns:p14="http://schemas.microsoft.com/office/powerpoint/2010/main" val="4756170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ulleted Lis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CE03954-D815-BA3D-F48D-C939EF0B8A31}"/>
              </a:ext>
            </a:extLst>
          </p:cNvPr>
          <p:cNvGraphicFramePr>
            <a:graphicFrameLocks noChangeAspect="1"/>
          </p:cNvGraphicFramePr>
          <p:nvPr userDrawn="1">
            <p:custDataLst>
              <p:tags r:id="rId1"/>
            </p:custDataLst>
            <p:extLst>
              <p:ext uri="{D42A27DB-BD31-4B8C-83A1-F6EECF244321}">
                <p14:modId xmlns:p14="http://schemas.microsoft.com/office/powerpoint/2010/main" val="360422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CCE03954-D815-BA3D-F48D-C939EF0B8A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521711-3A75-3743-A297-695587AC5445}"/>
              </a:ext>
            </a:extLst>
          </p:cNvPr>
          <p:cNvSpPr>
            <a:spLocks noGrp="1"/>
          </p:cNvSpPr>
          <p:nvPr>
            <p:ph type="body" sz="quarter" idx="11" hasCustomPrompt="1"/>
          </p:nvPr>
        </p:nvSpPr>
        <p:spPr>
          <a:xfrm>
            <a:off x="355600" y="1447800"/>
            <a:ext cx="11125198" cy="3886200"/>
          </a:xfrm>
          <a:prstGeom prst="rect">
            <a:avLst/>
          </a:prstGeom>
        </p:spPr>
        <p:txBody>
          <a:bodyPr lIns="0" tIns="0" rIns="0" bIns="0" anchor="t" anchorCtr="0">
            <a:normAutofit/>
          </a:bodyPr>
          <a:lstStyle>
            <a:lvl1pPr>
              <a:defRPr sz="2400" b="0" i="0">
                <a:latin typeface="+mn-lt"/>
                <a:cs typeface="Arial" panose="020B0604020202020204" pitchFamily="34" charset="0"/>
              </a:defRPr>
            </a:lvl1pPr>
            <a:lvl2pPr marL="685800" indent="-228600">
              <a:buFont typeface="Courier New" panose="02070309020205020404" pitchFamily="49" charset="0"/>
              <a:buChar char="o"/>
              <a:defRPr sz="2400" b="0" i="0">
                <a:latin typeface="+mn-lt"/>
                <a:cs typeface="Arial" panose="020B0604020202020204" pitchFamily="34" charset="0"/>
              </a:defRPr>
            </a:lvl2pPr>
            <a:lvl3pPr marL="1143000" indent="-228600">
              <a:buFont typeface="Courier New" panose="02070309020205020404" pitchFamily="49" charset="0"/>
              <a:buChar char="o"/>
              <a:defRPr sz="2400" b="0" i="0">
                <a:latin typeface="+mn-lt"/>
                <a:cs typeface="Arial" panose="020B0604020202020204" pitchFamily="34" charset="0"/>
              </a:defRPr>
            </a:lvl3pPr>
          </a:lstStyle>
          <a:p>
            <a:pPr lvl="0"/>
            <a:r>
              <a:rPr lang="en-US"/>
              <a:t>Edit Master text styles</a:t>
            </a:r>
          </a:p>
          <a:p>
            <a:pPr lvl="1"/>
            <a:r>
              <a:rPr lang="en-US"/>
              <a:t>Second level</a:t>
            </a:r>
          </a:p>
          <a:p>
            <a:pPr lvl="2"/>
            <a:r>
              <a:rPr lang="en-US"/>
              <a:t>Third level</a:t>
            </a:r>
          </a:p>
        </p:txBody>
      </p:sp>
      <p:sp>
        <p:nvSpPr>
          <p:cNvPr id="3" name="Title 1">
            <a:extLst>
              <a:ext uri="{FF2B5EF4-FFF2-40B4-BE49-F238E27FC236}">
                <a16:creationId xmlns:a16="http://schemas.microsoft.com/office/drawing/2014/main" id="{7908ECD7-69A0-0E5D-90B5-9150D6B3579F}"/>
              </a:ext>
            </a:extLst>
          </p:cNvPr>
          <p:cNvSpPr>
            <a:spLocks noGrp="1"/>
          </p:cNvSpPr>
          <p:nvPr>
            <p:ph type="title" hasCustomPrompt="1"/>
          </p:nvPr>
        </p:nvSpPr>
        <p:spPr>
          <a:xfrm>
            <a:off x="355599" y="382589"/>
            <a:ext cx="11125197" cy="350837"/>
          </a:xfrm>
          <a:prstGeom prst="rect">
            <a:avLst/>
          </a:prstGeom>
        </p:spPr>
        <p:txBody>
          <a:bodyPr vert="horz" anchor="t"/>
          <a:lstStyle>
            <a:lvl1pPr>
              <a:defRPr>
                <a:latin typeface="+mn-lt"/>
                <a:cs typeface="Arial" panose="020B0604020202020204" pitchFamily="34" charset="0"/>
              </a:defRPr>
            </a:lvl1pPr>
          </a:lstStyle>
          <a:p>
            <a:r>
              <a:rPr lang="en-US" b="1"/>
              <a:t>Title (try to keep this to one line)</a:t>
            </a:r>
            <a:endParaRPr lang="en-US"/>
          </a:p>
        </p:txBody>
      </p:sp>
      <p:sp>
        <p:nvSpPr>
          <p:cNvPr id="6" name="Text Placeholder 3">
            <a:extLst>
              <a:ext uri="{FF2B5EF4-FFF2-40B4-BE49-F238E27FC236}">
                <a16:creationId xmlns:a16="http://schemas.microsoft.com/office/drawing/2014/main" id="{09B17AE9-C3E9-0305-41B4-DEF469C12E88}"/>
              </a:ext>
            </a:extLst>
          </p:cNvPr>
          <p:cNvSpPr>
            <a:spLocks noGrp="1"/>
          </p:cNvSpPr>
          <p:nvPr>
            <p:ph type="body" sz="quarter" idx="17" hasCustomPrompt="1"/>
          </p:nvPr>
        </p:nvSpPr>
        <p:spPr>
          <a:xfrm>
            <a:off x="355599" y="760265"/>
            <a:ext cx="11125197"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Tree>
    <p:extLst>
      <p:ext uri="{BB962C8B-B14F-4D97-AF65-F5344CB8AC3E}">
        <p14:creationId xmlns:p14="http://schemas.microsoft.com/office/powerpoint/2010/main" val="23458583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957543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Image Righ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82AAF47-7A7E-EEE2-793D-E44F702F2EF7}"/>
              </a:ext>
            </a:extLst>
          </p:cNvPr>
          <p:cNvGraphicFramePr>
            <a:graphicFrameLocks noChangeAspect="1"/>
          </p:cNvGraphicFramePr>
          <p:nvPr userDrawn="1">
            <p:custDataLst>
              <p:tags r:id="rId1"/>
            </p:custDataLst>
            <p:extLst>
              <p:ext uri="{D42A27DB-BD31-4B8C-83A1-F6EECF244321}">
                <p14:modId xmlns:p14="http://schemas.microsoft.com/office/powerpoint/2010/main" val="363592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982AAF47-7A7E-EEE2-793D-E44F702F2E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Picture Placeholder 17">
            <a:extLst>
              <a:ext uri="{FF2B5EF4-FFF2-40B4-BE49-F238E27FC236}">
                <a16:creationId xmlns:a16="http://schemas.microsoft.com/office/drawing/2014/main" id="{7B273F5A-358C-844B-BC52-FF77B8FCB683}"/>
              </a:ext>
            </a:extLst>
          </p:cNvPr>
          <p:cNvSpPr>
            <a:spLocks noGrp="1" noChangeAspect="1"/>
          </p:cNvSpPr>
          <p:nvPr>
            <p:ph type="pic" sz="quarter" idx="10"/>
          </p:nvPr>
        </p:nvSpPr>
        <p:spPr>
          <a:xfrm>
            <a:off x="6197600" y="0"/>
            <a:ext cx="5994400" cy="6248400"/>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2" name="Title 1"/>
          <p:cNvSpPr>
            <a:spLocks noGrp="1"/>
          </p:cNvSpPr>
          <p:nvPr>
            <p:ph type="title" hasCustomPrompt="1"/>
          </p:nvPr>
        </p:nvSpPr>
        <p:spPr>
          <a:xfrm>
            <a:off x="355600" y="382589"/>
            <a:ext cx="5638800" cy="350837"/>
          </a:xfrm>
        </p:spPr>
        <p:txBody>
          <a:bodyPr vert="horz"/>
          <a:lstStyle>
            <a:lvl1pPr>
              <a:defRPr>
                <a:latin typeface="+mn-lt"/>
                <a:cs typeface="Arial" panose="020B0604020202020204" pitchFamily="34" charset="0"/>
              </a:defRPr>
            </a:lvl1pPr>
          </a:lstStyle>
          <a:p>
            <a:r>
              <a:rPr lang="en-US" b="1"/>
              <a:t>Title (keep this to 1 line)</a:t>
            </a:r>
            <a:endParaRPr lang="en-US"/>
          </a:p>
        </p:txBody>
      </p:sp>
      <p:sp>
        <p:nvSpPr>
          <p:cNvPr id="6" name="Text Placeholder 2"/>
          <p:cNvSpPr>
            <a:spLocks noGrp="1"/>
          </p:cNvSpPr>
          <p:nvPr>
            <p:ph idx="1"/>
          </p:nvPr>
        </p:nvSpPr>
        <p:spPr>
          <a:xfrm>
            <a:off x="355600" y="1447799"/>
            <a:ext cx="5638800" cy="4800600"/>
          </a:xfrm>
          <a:prstGeom prst="rect">
            <a:avLst/>
          </a:prstGeom>
        </p:spPr>
        <p:txBody>
          <a:bodyPr vert="horz" wrap="square" lIns="0" tIns="0" rIns="0" bIns="0" rtlCol="0" anchor="t" anchorCtr="0">
            <a:noAutofit/>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vl6pPr>
              <a:defRPr>
                <a:latin typeface="+mn-lt"/>
                <a:cs typeface="Arial" panose="020B0604020202020204"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Text Placeholder 3"/>
          <p:cNvSpPr>
            <a:spLocks noGrp="1"/>
          </p:cNvSpPr>
          <p:nvPr>
            <p:ph type="body" sz="quarter" idx="11" hasCustomPrompt="1"/>
          </p:nvPr>
        </p:nvSpPr>
        <p:spPr>
          <a:xfrm>
            <a:off x="355600" y="760265"/>
            <a:ext cx="56388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use only if title is one line long)</a:t>
            </a:r>
            <a:endParaRPr lang="en-US"/>
          </a:p>
        </p:txBody>
      </p:sp>
    </p:spTree>
    <p:extLst>
      <p:ext uri="{BB962C8B-B14F-4D97-AF65-F5344CB8AC3E}">
        <p14:creationId xmlns:p14="http://schemas.microsoft.com/office/powerpoint/2010/main" val="209562098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ll Image Grid Righ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FB42FA2-A5D4-CAE4-E7E3-1580AF0AE126}"/>
              </a:ext>
            </a:extLst>
          </p:cNvPr>
          <p:cNvGraphicFramePr>
            <a:graphicFrameLocks noChangeAspect="1"/>
          </p:cNvGraphicFramePr>
          <p:nvPr userDrawn="1">
            <p:custDataLst>
              <p:tags r:id="rId1"/>
            </p:custDataLst>
            <p:extLst>
              <p:ext uri="{D42A27DB-BD31-4B8C-83A1-F6EECF244321}">
                <p14:modId xmlns:p14="http://schemas.microsoft.com/office/powerpoint/2010/main" val="3424482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8FB42FA2-A5D4-CAE4-E7E3-1580AF0AE1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Picture Placeholder 17">
            <a:extLst>
              <a:ext uri="{FF2B5EF4-FFF2-40B4-BE49-F238E27FC236}">
                <a16:creationId xmlns:a16="http://schemas.microsoft.com/office/drawing/2014/main" id="{7B273F5A-358C-844B-BC52-FF77B8FCB683}"/>
              </a:ext>
            </a:extLst>
          </p:cNvPr>
          <p:cNvSpPr>
            <a:spLocks noGrp="1"/>
          </p:cNvSpPr>
          <p:nvPr>
            <p:ph type="pic" sz="quarter" idx="10"/>
          </p:nvPr>
        </p:nvSpPr>
        <p:spPr>
          <a:xfrm>
            <a:off x="6197603" y="0"/>
            <a:ext cx="2946397" cy="2286000"/>
          </a:xfrm>
          <a:prstGeom prst="rect">
            <a:avLst/>
          </a:prstGeom>
          <a:pattFill prst="pct20">
            <a:fgClr>
              <a:schemeClr val="tx2"/>
            </a:fgClr>
            <a:bgClr>
              <a:schemeClr val="bg1"/>
            </a:bgClr>
          </a:pattFill>
        </p:spPr>
        <p:txBody>
          <a:bodyPr/>
          <a:lstStyle>
            <a:lvl1pPr>
              <a:defRPr>
                <a:noFill/>
                <a:latin typeface="Arial" panose="020B0604020202020204" pitchFamily="34" charset="0"/>
                <a:cs typeface="Arial" panose="020B0604020202020204" pitchFamily="34" charset="0"/>
              </a:defRPr>
            </a:lvl1pPr>
          </a:lstStyle>
          <a:p>
            <a:endParaRPr lang="en-US"/>
          </a:p>
        </p:txBody>
      </p:sp>
      <p:sp>
        <p:nvSpPr>
          <p:cNvPr id="11" name="Picture Placeholder 17">
            <a:extLst>
              <a:ext uri="{FF2B5EF4-FFF2-40B4-BE49-F238E27FC236}">
                <a16:creationId xmlns:a16="http://schemas.microsoft.com/office/drawing/2014/main" id="{09EFC098-2F91-334F-8B6C-3780EE5FA027}"/>
              </a:ext>
            </a:extLst>
          </p:cNvPr>
          <p:cNvSpPr>
            <a:spLocks noGrp="1"/>
          </p:cNvSpPr>
          <p:nvPr>
            <p:ph type="pic" sz="quarter" idx="11"/>
          </p:nvPr>
        </p:nvSpPr>
        <p:spPr>
          <a:xfrm>
            <a:off x="9144000" y="0"/>
            <a:ext cx="3048000" cy="4572000"/>
          </a:xfrm>
          <a:prstGeom prst="rect">
            <a:avLst/>
          </a:prstGeom>
          <a:pattFill prst="pct20">
            <a:fgClr>
              <a:schemeClr val="tx2"/>
            </a:fgClr>
            <a:bgClr>
              <a:schemeClr val="bg1"/>
            </a:bgClr>
          </a:pattFill>
        </p:spPr>
        <p:txBody>
          <a:bodyPr/>
          <a:lstStyle>
            <a:lvl1pPr>
              <a:defRPr>
                <a:noFill/>
                <a:latin typeface="Arial" panose="020B0604020202020204" pitchFamily="34" charset="0"/>
                <a:cs typeface="Arial" panose="020B0604020202020204" pitchFamily="34" charset="0"/>
              </a:defRPr>
            </a:lvl1pPr>
          </a:lstStyle>
          <a:p>
            <a:endParaRPr lang="en-US"/>
          </a:p>
        </p:txBody>
      </p:sp>
      <p:sp>
        <p:nvSpPr>
          <p:cNvPr id="14" name="Picture Placeholder 17">
            <a:extLst>
              <a:ext uri="{FF2B5EF4-FFF2-40B4-BE49-F238E27FC236}">
                <a16:creationId xmlns:a16="http://schemas.microsoft.com/office/drawing/2014/main" id="{F2C0E3B3-9114-D041-8DBA-3CEB0224D4FD}"/>
              </a:ext>
            </a:extLst>
          </p:cNvPr>
          <p:cNvSpPr>
            <a:spLocks noGrp="1"/>
          </p:cNvSpPr>
          <p:nvPr>
            <p:ph type="pic" sz="quarter" idx="12"/>
          </p:nvPr>
        </p:nvSpPr>
        <p:spPr>
          <a:xfrm>
            <a:off x="6197603" y="4572000"/>
            <a:ext cx="5994397" cy="1676400"/>
          </a:xfrm>
          <a:prstGeom prst="rect">
            <a:avLst/>
          </a:prstGeom>
          <a:pattFill prst="pct20">
            <a:fgClr>
              <a:schemeClr val="tx2"/>
            </a:fgClr>
            <a:bgClr>
              <a:schemeClr val="bg1"/>
            </a:bgClr>
          </a:pattFill>
        </p:spPr>
        <p:txBody>
          <a:bodyPr/>
          <a:lstStyle>
            <a:lvl1pPr>
              <a:defRPr>
                <a:noFill/>
                <a:latin typeface="Arial" panose="020B0604020202020204" pitchFamily="34" charset="0"/>
                <a:cs typeface="Arial" panose="020B0604020202020204" pitchFamily="34" charset="0"/>
              </a:defRPr>
            </a:lvl1pPr>
          </a:lstStyle>
          <a:p>
            <a:endParaRPr lang="en-US"/>
          </a:p>
        </p:txBody>
      </p:sp>
      <p:sp>
        <p:nvSpPr>
          <p:cNvPr id="16" name="Picture Placeholder 17">
            <a:extLst>
              <a:ext uri="{FF2B5EF4-FFF2-40B4-BE49-F238E27FC236}">
                <a16:creationId xmlns:a16="http://schemas.microsoft.com/office/drawing/2014/main" id="{1E962DCB-3949-8B48-B949-6878840C1495}"/>
              </a:ext>
            </a:extLst>
          </p:cNvPr>
          <p:cNvSpPr>
            <a:spLocks noGrp="1"/>
          </p:cNvSpPr>
          <p:nvPr>
            <p:ph type="pic" sz="quarter" idx="13"/>
          </p:nvPr>
        </p:nvSpPr>
        <p:spPr>
          <a:xfrm>
            <a:off x="6197603" y="2286000"/>
            <a:ext cx="2946397" cy="2286000"/>
          </a:xfrm>
          <a:prstGeom prst="rect">
            <a:avLst/>
          </a:prstGeom>
          <a:pattFill prst="pct20">
            <a:fgClr>
              <a:schemeClr val="tx2"/>
            </a:fgClr>
            <a:bgClr>
              <a:schemeClr val="bg1"/>
            </a:bgClr>
          </a:pattFill>
        </p:spPr>
        <p:txBody>
          <a:bodyPr/>
          <a:lstStyle>
            <a:lvl1pPr>
              <a:defRPr>
                <a:noFill/>
                <a:latin typeface="Arial" panose="020B0604020202020204" pitchFamily="34" charset="0"/>
                <a:cs typeface="Arial" panose="020B0604020202020204" pitchFamily="34" charset="0"/>
              </a:defRPr>
            </a:lvl1pPr>
          </a:lstStyle>
          <a:p>
            <a:endParaRPr lang="en-US"/>
          </a:p>
        </p:txBody>
      </p:sp>
      <p:sp>
        <p:nvSpPr>
          <p:cNvPr id="2" name="Title 1"/>
          <p:cNvSpPr>
            <a:spLocks noGrp="1"/>
          </p:cNvSpPr>
          <p:nvPr>
            <p:ph type="title" hasCustomPrompt="1"/>
          </p:nvPr>
        </p:nvSpPr>
        <p:spPr>
          <a:xfrm>
            <a:off x="355600" y="382589"/>
            <a:ext cx="5638800" cy="350837"/>
          </a:xfrm>
        </p:spPr>
        <p:txBody>
          <a:bodyPr vert="horz"/>
          <a:lstStyle>
            <a:lvl1pPr>
              <a:defRPr>
                <a:latin typeface="+mn-lt"/>
                <a:cs typeface="Arial" panose="020B0604020202020204" pitchFamily="34" charset="0"/>
              </a:defRPr>
            </a:lvl1pPr>
          </a:lstStyle>
          <a:p>
            <a:r>
              <a:rPr lang="en-US" b="1"/>
              <a:t>Title (keep this to 1 line)</a:t>
            </a:r>
            <a:endParaRPr lang="en-US"/>
          </a:p>
        </p:txBody>
      </p:sp>
      <p:sp>
        <p:nvSpPr>
          <p:cNvPr id="4" name="Text Placeholder 3"/>
          <p:cNvSpPr>
            <a:spLocks noGrp="1"/>
          </p:cNvSpPr>
          <p:nvPr>
            <p:ph type="body" sz="quarter" idx="14"/>
          </p:nvPr>
        </p:nvSpPr>
        <p:spPr>
          <a:xfrm>
            <a:off x="355600" y="1447799"/>
            <a:ext cx="5638800" cy="4800600"/>
          </a:xfrm>
        </p:spPr>
        <p:txBody>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5" hasCustomPrompt="1"/>
          </p:nvPr>
        </p:nvSpPr>
        <p:spPr>
          <a:xfrm>
            <a:off x="355600" y="760265"/>
            <a:ext cx="56388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use only if title is one line long)</a:t>
            </a:r>
            <a:endParaRPr lang="en-US"/>
          </a:p>
        </p:txBody>
      </p:sp>
    </p:spTree>
    <p:extLst>
      <p:ext uri="{BB962C8B-B14F-4D97-AF65-F5344CB8AC3E}">
        <p14:creationId xmlns:p14="http://schemas.microsoft.com/office/powerpoint/2010/main" val="3742101683"/>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stimonial Grid Righ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A4C15DA-4AED-534E-648A-59212200729E}"/>
              </a:ext>
            </a:extLst>
          </p:cNvPr>
          <p:cNvGraphicFramePr>
            <a:graphicFrameLocks noChangeAspect="1"/>
          </p:cNvGraphicFramePr>
          <p:nvPr userDrawn="1">
            <p:custDataLst>
              <p:tags r:id="rId1"/>
            </p:custDataLst>
            <p:extLst>
              <p:ext uri="{D42A27DB-BD31-4B8C-83A1-F6EECF244321}">
                <p14:modId xmlns:p14="http://schemas.microsoft.com/office/powerpoint/2010/main" val="571350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FA4C15DA-4AED-534E-648A-5921220072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17">
            <a:extLst>
              <a:ext uri="{FF2B5EF4-FFF2-40B4-BE49-F238E27FC236}">
                <a16:creationId xmlns:a16="http://schemas.microsoft.com/office/drawing/2014/main" id="{09EFC098-2F91-334F-8B6C-3780EE5FA027}"/>
              </a:ext>
            </a:extLst>
          </p:cNvPr>
          <p:cNvSpPr>
            <a:spLocks noGrp="1" noChangeAspect="1"/>
          </p:cNvSpPr>
          <p:nvPr>
            <p:ph type="pic" sz="quarter" idx="11"/>
          </p:nvPr>
        </p:nvSpPr>
        <p:spPr>
          <a:xfrm>
            <a:off x="9412224" y="2084832"/>
            <a:ext cx="2779776" cy="2084401"/>
          </a:xfrm>
          <a:prstGeom prst="rect">
            <a:avLst/>
          </a:prstGeom>
          <a:pattFill prst="pct20">
            <a:fgClr>
              <a:schemeClr val="tx2"/>
            </a:fgClr>
            <a:bgClr>
              <a:schemeClr val="bg1"/>
            </a:bgClr>
          </a:pattFill>
        </p:spPr>
        <p:txBody>
          <a:bodyPr/>
          <a:lstStyle>
            <a:lvl1pPr>
              <a:defRPr>
                <a:noFill/>
                <a:latin typeface="Arial" panose="020B0604020202020204" pitchFamily="34" charset="0"/>
                <a:cs typeface="Arial" panose="020B0604020202020204" pitchFamily="34" charset="0"/>
              </a:defRPr>
            </a:lvl1pPr>
          </a:lstStyle>
          <a:p>
            <a:endParaRPr lang="en-US"/>
          </a:p>
        </p:txBody>
      </p:sp>
      <p:sp>
        <p:nvSpPr>
          <p:cNvPr id="18" name="Picture Placeholder 17">
            <a:extLst>
              <a:ext uri="{FF2B5EF4-FFF2-40B4-BE49-F238E27FC236}">
                <a16:creationId xmlns:a16="http://schemas.microsoft.com/office/drawing/2014/main" id="{7B273F5A-358C-844B-BC52-FF77B8FCB683}"/>
              </a:ext>
            </a:extLst>
          </p:cNvPr>
          <p:cNvSpPr>
            <a:spLocks noGrp="1" noChangeAspect="1"/>
          </p:cNvSpPr>
          <p:nvPr>
            <p:ph type="pic" sz="quarter" idx="10"/>
          </p:nvPr>
        </p:nvSpPr>
        <p:spPr>
          <a:xfrm>
            <a:off x="6620256" y="0"/>
            <a:ext cx="2791968" cy="2084832"/>
          </a:xfrm>
          <a:prstGeom prst="rect">
            <a:avLst/>
          </a:prstGeom>
          <a:pattFill prst="pct20">
            <a:fgClr>
              <a:schemeClr val="tx2"/>
            </a:fgClr>
            <a:bgClr>
              <a:schemeClr val="bg1"/>
            </a:bgClr>
          </a:pattFill>
        </p:spPr>
        <p:txBody>
          <a:bodyPr/>
          <a:lstStyle>
            <a:lvl1pPr>
              <a:defRPr>
                <a:noFill/>
                <a:latin typeface="Arial" panose="020B0604020202020204" pitchFamily="34" charset="0"/>
                <a:cs typeface="Arial" panose="020B0604020202020204" pitchFamily="34" charset="0"/>
              </a:defRPr>
            </a:lvl1pPr>
          </a:lstStyle>
          <a:p>
            <a:endParaRPr lang="en-US"/>
          </a:p>
        </p:txBody>
      </p:sp>
      <p:sp>
        <p:nvSpPr>
          <p:cNvPr id="14" name="Picture Placeholder 17">
            <a:extLst>
              <a:ext uri="{FF2B5EF4-FFF2-40B4-BE49-F238E27FC236}">
                <a16:creationId xmlns:a16="http://schemas.microsoft.com/office/drawing/2014/main" id="{F2C0E3B3-9114-D041-8DBA-3CEB0224D4FD}"/>
              </a:ext>
            </a:extLst>
          </p:cNvPr>
          <p:cNvSpPr>
            <a:spLocks noGrp="1" noChangeAspect="1"/>
          </p:cNvSpPr>
          <p:nvPr>
            <p:ph type="pic" sz="quarter" idx="12"/>
          </p:nvPr>
        </p:nvSpPr>
        <p:spPr>
          <a:xfrm>
            <a:off x="6620256" y="4164643"/>
            <a:ext cx="2791968" cy="2080241"/>
          </a:xfrm>
          <a:prstGeom prst="rect">
            <a:avLst/>
          </a:prstGeom>
          <a:pattFill prst="pct20">
            <a:fgClr>
              <a:schemeClr val="tx2"/>
            </a:fgClr>
            <a:bgClr>
              <a:schemeClr val="bg1"/>
            </a:bgClr>
          </a:pattFill>
        </p:spPr>
        <p:txBody>
          <a:bodyPr/>
          <a:lstStyle>
            <a:lvl1pPr>
              <a:defRPr>
                <a:noFill/>
                <a:latin typeface="Arial" panose="020B0604020202020204" pitchFamily="34" charset="0"/>
                <a:cs typeface="Arial" panose="020B0604020202020204" pitchFamily="34" charset="0"/>
              </a:defRPr>
            </a:lvl1pPr>
          </a:lstStyle>
          <a:p>
            <a:endParaRPr lang="en-US"/>
          </a:p>
        </p:txBody>
      </p:sp>
      <p:sp>
        <p:nvSpPr>
          <p:cNvPr id="3" name="Title 2"/>
          <p:cNvSpPr>
            <a:spLocks noGrp="1"/>
          </p:cNvSpPr>
          <p:nvPr>
            <p:ph type="title" hasCustomPrompt="1"/>
          </p:nvPr>
        </p:nvSpPr>
        <p:spPr>
          <a:xfrm>
            <a:off x="355600" y="382589"/>
            <a:ext cx="5892800" cy="350837"/>
          </a:xfrm>
        </p:spPr>
        <p:txBody>
          <a:bodyPr vert="horz"/>
          <a:lstStyle>
            <a:lvl1pPr>
              <a:defRPr>
                <a:latin typeface="+mn-lt"/>
                <a:cs typeface="Arial" panose="020B0604020202020204" pitchFamily="34" charset="0"/>
              </a:defRPr>
            </a:lvl1pPr>
          </a:lstStyle>
          <a:p>
            <a:r>
              <a:rPr lang="en-US" b="1"/>
              <a:t>Title (keep this to 1 line)</a:t>
            </a:r>
            <a:endParaRPr lang="en-US"/>
          </a:p>
        </p:txBody>
      </p:sp>
      <p:sp>
        <p:nvSpPr>
          <p:cNvPr id="5" name="Text Placeholder 4"/>
          <p:cNvSpPr>
            <a:spLocks noGrp="1"/>
          </p:cNvSpPr>
          <p:nvPr>
            <p:ph type="body" sz="quarter" idx="13"/>
          </p:nvPr>
        </p:nvSpPr>
        <p:spPr>
          <a:xfrm>
            <a:off x="355600" y="1447801"/>
            <a:ext cx="5892800" cy="4801673"/>
          </a:xfrm>
        </p:spPr>
        <p:txBody>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hasCustomPrompt="1"/>
          </p:nvPr>
        </p:nvSpPr>
        <p:spPr>
          <a:xfrm>
            <a:off x="355600" y="760265"/>
            <a:ext cx="58928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use only if title is one line long)</a:t>
            </a:r>
            <a:endParaRPr lang="en-US"/>
          </a:p>
        </p:txBody>
      </p:sp>
      <p:sp>
        <p:nvSpPr>
          <p:cNvPr id="17" name="Rectangle 16">
            <a:extLst>
              <a:ext uri="{FF2B5EF4-FFF2-40B4-BE49-F238E27FC236}">
                <a16:creationId xmlns:a16="http://schemas.microsoft.com/office/drawing/2014/main" id="{BDFB67B6-B5BD-544C-BE4E-25593DD27176}"/>
              </a:ext>
            </a:extLst>
          </p:cNvPr>
          <p:cNvSpPr>
            <a:spLocks noChangeAspect="1"/>
          </p:cNvSpPr>
          <p:nvPr userDrawn="1"/>
        </p:nvSpPr>
        <p:spPr>
          <a:xfrm>
            <a:off x="9412224" y="0"/>
            <a:ext cx="2779776" cy="20848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8E2810D9-1622-3248-9A5F-722813269449}"/>
              </a:ext>
            </a:extLst>
          </p:cNvPr>
          <p:cNvSpPr>
            <a:spLocks noChangeAspect="1"/>
          </p:cNvSpPr>
          <p:nvPr userDrawn="1"/>
        </p:nvSpPr>
        <p:spPr>
          <a:xfrm>
            <a:off x="6620256" y="2084847"/>
            <a:ext cx="2791968" cy="20844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B344A918-9968-DA4B-8684-A5D0F18368D9}"/>
              </a:ext>
            </a:extLst>
          </p:cNvPr>
          <p:cNvSpPr>
            <a:spLocks noChangeAspect="1"/>
          </p:cNvSpPr>
          <p:nvPr userDrawn="1"/>
        </p:nvSpPr>
        <p:spPr>
          <a:xfrm>
            <a:off x="9412224" y="4169233"/>
            <a:ext cx="2779776" cy="20802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12726861"/>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w/ Frame Righ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D8DDF46-8B0A-00A1-DF76-FB4BAB0E9439}"/>
              </a:ext>
            </a:extLst>
          </p:cNvPr>
          <p:cNvGraphicFramePr>
            <a:graphicFrameLocks noChangeAspect="1"/>
          </p:cNvGraphicFramePr>
          <p:nvPr userDrawn="1">
            <p:custDataLst>
              <p:tags r:id="rId1"/>
            </p:custDataLst>
            <p:extLst>
              <p:ext uri="{D42A27DB-BD31-4B8C-83A1-F6EECF244321}">
                <p14:modId xmlns:p14="http://schemas.microsoft.com/office/powerpoint/2010/main" val="1317012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5D8DDF46-8B0A-00A1-DF76-FB4BAB0E94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a:extLst>
              <a:ext uri="{FF2B5EF4-FFF2-40B4-BE49-F238E27FC236}">
                <a16:creationId xmlns:a16="http://schemas.microsoft.com/office/drawing/2014/main" id="{AAD0EB6C-E970-CB40-AF4A-A3A025E055D0}"/>
              </a:ext>
            </a:extLst>
          </p:cNvPr>
          <p:cNvSpPr/>
          <p:nvPr userDrawn="1"/>
        </p:nvSpPr>
        <p:spPr>
          <a:xfrm>
            <a:off x="6197600" y="0"/>
            <a:ext cx="5994400" cy="624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latin typeface="+mn-lt"/>
              <a:cs typeface="Arial" panose="020B0604020202020204" pitchFamily="34" charset="0"/>
            </a:endParaRPr>
          </a:p>
        </p:txBody>
      </p:sp>
      <p:sp>
        <p:nvSpPr>
          <p:cNvPr id="18" name="Picture Placeholder 17">
            <a:extLst>
              <a:ext uri="{FF2B5EF4-FFF2-40B4-BE49-F238E27FC236}">
                <a16:creationId xmlns:a16="http://schemas.microsoft.com/office/drawing/2014/main" id="{7B273F5A-358C-844B-BC52-FF77B8FCB683}"/>
              </a:ext>
            </a:extLst>
          </p:cNvPr>
          <p:cNvSpPr>
            <a:spLocks noGrp="1" noChangeAspect="1"/>
          </p:cNvSpPr>
          <p:nvPr>
            <p:ph type="pic" sz="quarter" idx="10"/>
          </p:nvPr>
        </p:nvSpPr>
        <p:spPr>
          <a:xfrm>
            <a:off x="7112000" y="609601"/>
            <a:ext cx="4368800" cy="5137573"/>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2" name="Title 1"/>
          <p:cNvSpPr>
            <a:spLocks noGrp="1"/>
          </p:cNvSpPr>
          <p:nvPr>
            <p:ph type="title" hasCustomPrompt="1"/>
          </p:nvPr>
        </p:nvSpPr>
        <p:spPr>
          <a:xfrm>
            <a:off x="355600" y="382589"/>
            <a:ext cx="5638800" cy="350837"/>
          </a:xfrm>
        </p:spPr>
        <p:txBody>
          <a:bodyPr vert="horz"/>
          <a:lstStyle>
            <a:lvl1pPr>
              <a:defRPr>
                <a:latin typeface="+mn-lt"/>
                <a:cs typeface="Arial" panose="020B0604020202020204" pitchFamily="34" charset="0"/>
              </a:defRPr>
            </a:lvl1pPr>
          </a:lstStyle>
          <a:p>
            <a:r>
              <a:rPr lang="en-US" b="1"/>
              <a:t>Title (keep this to 1 line)</a:t>
            </a:r>
            <a:endParaRPr lang="en-US"/>
          </a:p>
        </p:txBody>
      </p:sp>
      <p:sp>
        <p:nvSpPr>
          <p:cNvPr id="5" name="Text Placeholder 4"/>
          <p:cNvSpPr>
            <a:spLocks noGrp="1"/>
          </p:cNvSpPr>
          <p:nvPr>
            <p:ph type="body" sz="quarter" idx="11"/>
          </p:nvPr>
        </p:nvSpPr>
        <p:spPr>
          <a:xfrm>
            <a:off x="355600" y="1447800"/>
            <a:ext cx="5638800" cy="4800601"/>
          </a:xfrm>
        </p:spPr>
        <p:txBody>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hasCustomPrompt="1"/>
          </p:nvPr>
        </p:nvSpPr>
        <p:spPr>
          <a:xfrm>
            <a:off x="355600" y="760265"/>
            <a:ext cx="56388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use only if title is one line long)</a:t>
            </a:r>
            <a:endParaRPr lang="en-US"/>
          </a:p>
        </p:txBody>
      </p:sp>
    </p:spTree>
    <p:extLst>
      <p:ext uri="{BB962C8B-B14F-4D97-AF65-F5344CB8AC3E}">
        <p14:creationId xmlns:p14="http://schemas.microsoft.com/office/powerpoint/2010/main" val="267195828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ynamic Layout Righ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95D10E9-03D7-4090-AEB6-721CB9642F71}"/>
              </a:ext>
            </a:extLst>
          </p:cNvPr>
          <p:cNvGraphicFramePr>
            <a:graphicFrameLocks noChangeAspect="1"/>
          </p:cNvGraphicFramePr>
          <p:nvPr userDrawn="1">
            <p:custDataLst>
              <p:tags r:id="rId1"/>
            </p:custDataLst>
            <p:extLst>
              <p:ext uri="{D42A27DB-BD31-4B8C-83A1-F6EECF244321}">
                <p14:modId xmlns:p14="http://schemas.microsoft.com/office/powerpoint/2010/main" val="878260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think-cell data - do not delete" hidden="1">
                        <a:extLst>
                          <a:ext uri="{FF2B5EF4-FFF2-40B4-BE49-F238E27FC236}">
                            <a16:creationId xmlns:a16="http://schemas.microsoft.com/office/drawing/2014/main" id="{895D10E9-03D7-4090-AEB6-721CB9642F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a:extLst>
              <a:ext uri="{FF2B5EF4-FFF2-40B4-BE49-F238E27FC236}">
                <a16:creationId xmlns:a16="http://schemas.microsoft.com/office/drawing/2014/main" id="{AAD0EB6C-E970-CB40-AF4A-A3A025E055D0}"/>
              </a:ext>
            </a:extLst>
          </p:cNvPr>
          <p:cNvSpPr/>
          <p:nvPr userDrawn="1"/>
        </p:nvSpPr>
        <p:spPr>
          <a:xfrm>
            <a:off x="6197600" y="0"/>
            <a:ext cx="5994400" cy="624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latin typeface="Arial" panose="020B0604020202020204" pitchFamily="34" charset="0"/>
              <a:cs typeface="Arial" panose="020B0604020202020204" pitchFamily="34" charset="0"/>
            </a:endParaRPr>
          </a:p>
        </p:txBody>
      </p:sp>
      <p:sp>
        <p:nvSpPr>
          <p:cNvPr id="18" name="Picture Placeholder 17">
            <a:extLst>
              <a:ext uri="{FF2B5EF4-FFF2-40B4-BE49-F238E27FC236}">
                <a16:creationId xmlns:a16="http://schemas.microsoft.com/office/drawing/2014/main" id="{7B273F5A-358C-844B-BC52-FF77B8FCB683}"/>
              </a:ext>
            </a:extLst>
          </p:cNvPr>
          <p:cNvSpPr>
            <a:spLocks noGrp="1" noChangeAspect="1"/>
          </p:cNvSpPr>
          <p:nvPr>
            <p:ph type="pic" sz="quarter" idx="10"/>
          </p:nvPr>
        </p:nvSpPr>
        <p:spPr>
          <a:xfrm>
            <a:off x="5283200" y="1447800"/>
            <a:ext cx="6197600" cy="3540760"/>
          </a:xfrm>
          <a:prstGeom prst="rect">
            <a:avLst/>
          </a:prstGeom>
          <a:pattFill prst="pct20">
            <a:fgClr>
              <a:schemeClr val="tx2"/>
            </a:fgClr>
            <a:bgClr>
              <a:schemeClr val="bg1"/>
            </a:bgClr>
          </a:pattFill>
        </p:spPr>
        <p:txBody>
          <a:bodyPr/>
          <a:lstStyle>
            <a:lvl1pPr>
              <a:defRPr>
                <a:noFill/>
                <a:latin typeface="Arial" panose="020B0604020202020204" pitchFamily="34" charset="0"/>
                <a:cs typeface="Arial" panose="020B0604020202020204" pitchFamily="34" charset="0"/>
              </a:defRPr>
            </a:lvl1pPr>
          </a:lstStyle>
          <a:p>
            <a:endParaRPr lang="en-US"/>
          </a:p>
        </p:txBody>
      </p:sp>
      <p:sp>
        <p:nvSpPr>
          <p:cNvPr id="2" name="Title 1"/>
          <p:cNvSpPr>
            <a:spLocks noGrp="1"/>
          </p:cNvSpPr>
          <p:nvPr>
            <p:ph type="title" hasCustomPrompt="1"/>
          </p:nvPr>
        </p:nvSpPr>
        <p:spPr>
          <a:xfrm>
            <a:off x="355600" y="382589"/>
            <a:ext cx="5638800" cy="350837"/>
          </a:xfrm>
        </p:spPr>
        <p:txBody>
          <a:bodyPr vert="horz"/>
          <a:lstStyle>
            <a:lvl1pPr>
              <a:defRPr>
                <a:latin typeface="+mn-lt"/>
                <a:cs typeface="Arial" panose="020B0604020202020204" pitchFamily="34" charset="0"/>
              </a:defRPr>
            </a:lvl1pPr>
          </a:lstStyle>
          <a:p>
            <a:r>
              <a:rPr lang="en-US" b="1"/>
              <a:t>Title (keep this to 1 line)</a:t>
            </a:r>
            <a:endParaRPr lang="en-US"/>
          </a:p>
        </p:txBody>
      </p:sp>
      <p:sp>
        <p:nvSpPr>
          <p:cNvPr id="4" name="Text Placeholder 3"/>
          <p:cNvSpPr>
            <a:spLocks noGrp="1"/>
          </p:cNvSpPr>
          <p:nvPr>
            <p:ph type="body" sz="quarter" idx="11"/>
          </p:nvPr>
        </p:nvSpPr>
        <p:spPr>
          <a:xfrm>
            <a:off x="355600" y="1447799"/>
            <a:ext cx="4724400" cy="4800600"/>
          </a:xfrm>
        </p:spPr>
        <p:txBody>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hasCustomPrompt="1"/>
          </p:nvPr>
        </p:nvSpPr>
        <p:spPr>
          <a:xfrm>
            <a:off x="355600" y="760265"/>
            <a:ext cx="5638800" cy="350837"/>
          </a:xfrm>
          <a:prstGeom prst="rect">
            <a:avLst/>
          </a:prstGeom>
        </p:spPr>
        <p:txBody>
          <a:bodyPr vert="horz" wrap="square" lIns="0" tIns="0" rIns="0" bIns="0" anchor="ctr"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use only if title is one line long)</a:t>
            </a:r>
            <a:endParaRPr lang="en-US"/>
          </a:p>
        </p:txBody>
      </p:sp>
    </p:spTree>
    <p:extLst>
      <p:ext uri="{BB962C8B-B14F-4D97-AF65-F5344CB8AC3E}">
        <p14:creationId xmlns:p14="http://schemas.microsoft.com/office/powerpoint/2010/main" val="382659783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35B6B5-9369-6547-88DB-A73F146F4A9F}"/>
              </a:ext>
            </a:extLst>
          </p:cNvPr>
          <p:cNvSpPr/>
          <p:nvPr userDrawn="1"/>
        </p:nvSpPr>
        <p:spPr>
          <a:xfrm>
            <a:off x="0" y="0"/>
            <a:ext cx="12192000" cy="624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sp>
        <p:nvSpPr>
          <p:cNvPr id="7" name="Text Placeholder 6">
            <a:extLst>
              <a:ext uri="{FF2B5EF4-FFF2-40B4-BE49-F238E27FC236}">
                <a16:creationId xmlns:a16="http://schemas.microsoft.com/office/drawing/2014/main" id="{FE14F06F-A251-DA41-AC14-6645EA24641A}"/>
              </a:ext>
            </a:extLst>
          </p:cNvPr>
          <p:cNvSpPr>
            <a:spLocks noGrp="1"/>
          </p:cNvSpPr>
          <p:nvPr>
            <p:ph type="body" sz="quarter" idx="10" hasCustomPrompt="1"/>
          </p:nvPr>
        </p:nvSpPr>
        <p:spPr>
          <a:xfrm>
            <a:off x="711200" y="1309302"/>
            <a:ext cx="6197600" cy="138499"/>
          </a:xfrm>
          <a:prstGeom prst="rect">
            <a:avLst/>
          </a:prstGeom>
        </p:spPr>
        <p:txBody>
          <a:bodyPr wrap="square" lIns="0" tIns="0" rIns="0" bIns="0" anchor="b" anchorCtr="0">
            <a:spAutoFit/>
          </a:bodyPr>
          <a:lstStyle>
            <a:lvl1pPr marL="0" indent="0">
              <a:buNone/>
              <a:defRPr sz="1000" b="0" i="1">
                <a:solidFill>
                  <a:schemeClr val="bg1"/>
                </a:solidFill>
                <a:latin typeface="+mn-lt"/>
                <a:cs typeface="Arial" panose="020B0604020202020204" pitchFamily="34" charset="0"/>
              </a:defRPr>
            </a:lvl1pPr>
            <a:lvl2pPr marL="457200" indent="0">
              <a:buNone/>
              <a:defRPr sz="1000" b="0" i="1">
                <a:latin typeface="Georgia" panose="02040502050405020303" pitchFamily="18" charset="0"/>
              </a:defRPr>
            </a:lvl2pPr>
            <a:lvl3pPr marL="914400" indent="0">
              <a:buNone/>
              <a:defRPr sz="1000" b="0" i="1">
                <a:latin typeface="Georgia" panose="02040502050405020303" pitchFamily="18" charset="0"/>
              </a:defRPr>
            </a:lvl3pPr>
            <a:lvl4pPr marL="1371600" indent="0">
              <a:buNone/>
              <a:defRPr sz="1000" b="0" i="1">
                <a:latin typeface="Georgia" panose="02040502050405020303" pitchFamily="18" charset="0"/>
              </a:defRPr>
            </a:lvl4pPr>
            <a:lvl5pPr marL="1828800" indent="0">
              <a:buNone/>
              <a:defRPr sz="1000" b="0" i="1">
                <a:latin typeface="Georgia" panose="02040502050405020303" pitchFamily="18" charset="0"/>
              </a:defRPr>
            </a:lvl5pPr>
          </a:lstStyle>
          <a:p>
            <a:pPr lvl="0"/>
            <a:r>
              <a:rPr lang="en-US"/>
              <a:t>Overline Text Style</a:t>
            </a:r>
          </a:p>
        </p:txBody>
      </p:sp>
      <p:sp>
        <p:nvSpPr>
          <p:cNvPr id="9" name="Text Placeholder 8">
            <a:extLst>
              <a:ext uri="{FF2B5EF4-FFF2-40B4-BE49-F238E27FC236}">
                <a16:creationId xmlns:a16="http://schemas.microsoft.com/office/drawing/2014/main" id="{FE5100DC-6281-1149-95AB-ABEF0612C247}"/>
              </a:ext>
            </a:extLst>
          </p:cNvPr>
          <p:cNvSpPr>
            <a:spLocks noGrp="1"/>
          </p:cNvSpPr>
          <p:nvPr>
            <p:ph type="body" sz="quarter" idx="11" hasCustomPrompt="1"/>
          </p:nvPr>
        </p:nvSpPr>
        <p:spPr>
          <a:xfrm>
            <a:off x="711200" y="1447801"/>
            <a:ext cx="6197600" cy="1425327"/>
          </a:xfrm>
          <a:prstGeom prst="rect">
            <a:avLst/>
          </a:prstGeom>
        </p:spPr>
        <p:txBody>
          <a:bodyPr wrap="square" lIns="0" tIns="91440" rIns="0" bIns="0">
            <a:spAutoFit/>
          </a:bodyPr>
          <a:lstStyle>
            <a:lvl1pPr marL="0" indent="0">
              <a:buNone/>
              <a:defRPr sz="4800" b="1" i="0">
                <a:solidFill>
                  <a:schemeClr val="bg1"/>
                </a:solidFill>
                <a:latin typeface="+mn-lt"/>
                <a:cs typeface="Arial" panose="020B0604020202020204" pitchFamily="34" charset="0"/>
              </a:defRPr>
            </a:lvl1pPr>
            <a:lvl2pPr marL="457200" indent="0">
              <a:buNone/>
              <a:defRPr b="0" i="0">
                <a:solidFill>
                  <a:schemeClr val="bg1"/>
                </a:solidFill>
                <a:latin typeface="Gill Sans Nova Medium" panose="020B0502020204020203" pitchFamily="34" charset="0"/>
              </a:defRPr>
            </a:lvl2pPr>
            <a:lvl3pPr marL="914400" indent="0">
              <a:buNone/>
              <a:defRPr b="0" i="0">
                <a:solidFill>
                  <a:schemeClr val="bg1"/>
                </a:solidFill>
                <a:latin typeface="Gill Sans Nova Medium" panose="020B0502020204020203" pitchFamily="34" charset="0"/>
              </a:defRPr>
            </a:lvl3pPr>
            <a:lvl4pPr marL="1371600" indent="0">
              <a:buNone/>
              <a:defRPr b="0" i="0">
                <a:solidFill>
                  <a:schemeClr val="bg1"/>
                </a:solidFill>
                <a:latin typeface="Gill Sans Nova Medium" panose="020B0502020204020203" pitchFamily="34" charset="0"/>
              </a:defRPr>
            </a:lvl4pPr>
            <a:lvl5pPr marL="1828800" indent="0">
              <a:buNone/>
              <a:defRPr b="0" i="0">
                <a:solidFill>
                  <a:schemeClr val="bg1"/>
                </a:solidFill>
                <a:latin typeface="Gill Sans Nova Medium" panose="020B0502020204020203" pitchFamily="34" charset="0"/>
              </a:defRPr>
            </a:lvl5pPr>
          </a:lstStyle>
          <a:p>
            <a:pPr lvl="0"/>
            <a:r>
              <a:rPr lang="en-US"/>
              <a:t>Section break heading</a:t>
            </a:r>
          </a:p>
        </p:txBody>
      </p:sp>
      <p:grpSp>
        <p:nvGrpSpPr>
          <p:cNvPr id="32" name="Group 31">
            <a:extLst>
              <a:ext uri="{FF2B5EF4-FFF2-40B4-BE49-F238E27FC236}">
                <a16:creationId xmlns:a16="http://schemas.microsoft.com/office/drawing/2014/main" id="{87328A71-A494-8B4F-820C-0B36C5A6C0AA}"/>
              </a:ext>
            </a:extLst>
          </p:cNvPr>
          <p:cNvGrpSpPr/>
          <p:nvPr userDrawn="1"/>
        </p:nvGrpSpPr>
        <p:grpSpPr>
          <a:xfrm>
            <a:off x="10224645" y="2700000"/>
            <a:ext cx="1405755" cy="2876400"/>
            <a:chOff x="7343776" y="2700000"/>
            <a:chExt cx="1379024" cy="2876400"/>
          </a:xfrm>
        </p:grpSpPr>
        <p:sp>
          <p:nvSpPr>
            <p:cNvPr id="29" name="Freeform 28">
              <a:extLst>
                <a:ext uri="{FF2B5EF4-FFF2-40B4-BE49-F238E27FC236}">
                  <a16:creationId xmlns:a16="http://schemas.microsoft.com/office/drawing/2014/main" id="{9180BE09-06B5-DC4B-861C-30307CBBD098}"/>
                </a:ext>
              </a:extLst>
            </p:cNvPr>
            <p:cNvSpPr/>
            <p:nvPr userDrawn="1"/>
          </p:nvSpPr>
          <p:spPr>
            <a:xfrm>
              <a:off x="7343776" y="2776105"/>
              <a:ext cx="1266825" cy="2696443"/>
            </a:xfrm>
            <a:custGeom>
              <a:avLst/>
              <a:gdLst>
                <a:gd name="connsiteX0" fmla="*/ 1266825 w 1266825"/>
                <a:gd name="connsiteY0" fmla="*/ 0 h 2696443"/>
                <a:gd name="connsiteX1" fmla="*/ 1266825 w 1266825"/>
                <a:gd name="connsiteY1" fmla="*/ 2696443 h 2696443"/>
                <a:gd name="connsiteX2" fmla="*/ 1214260 w 1266825"/>
                <a:gd name="connsiteY2" fmla="*/ 2693788 h 2696443"/>
                <a:gd name="connsiteX3" fmla="*/ 0 w 1266825"/>
                <a:gd name="connsiteY3" fmla="*/ 1348221 h 2696443"/>
                <a:gd name="connsiteX4" fmla="*/ 1214260 w 1266825"/>
                <a:gd name="connsiteY4" fmla="*/ 2654 h 2696443"/>
                <a:gd name="connsiteX5" fmla="*/ 1266825 w 1266825"/>
                <a:gd name="connsiteY5" fmla="*/ 0 h 2696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825" h="2696443">
                  <a:moveTo>
                    <a:pt x="1266825" y="0"/>
                  </a:moveTo>
                  <a:lnTo>
                    <a:pt x="1266825" y="2696443"/>
                  </a:lnTo>
                  <a:lnTo>
                    <a:pt x="1214260" y="2693788"/>
                  </a:lnTo>
                  <a:cubicBezTo>
                    <a:pt x="532228" y="2624524"/>
                    <a:pt x="0" y="2048527"/>
                    <a:pt x="0" y="1348221"/>
                  </a:cubicBezTo>
                  <a:cubicBezTo>
                    <a:pt x="0" y="647915"/>
                    <a:pt x="532228" y="71918"/>
                    <a:pt x="1214260" y="2654"/>
                  </a:cubicBezTo>
                  <a:lnTo>
                    <a:pt x="1266825" y="0"/>
                  </a:lnTo>
                  <a:close/>
                </a:path>
              </a:pathLst>
            </a:custGeom>
            <a:no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latin typeface="+mn-lt"/>
                <a:cs typeface="Arial" panose="020B0604020202020204" pitchFamily="34" charset="0"/>
              </a:endParaRPr>
            </a:p>
          </p:txBody>
        </p:sp>
        <p:sp>
          <p:nvSpPr>
            <p:cNvPr id="2" name="Rectangle 1">
              <a:extLst>
                <a:ext uri="{FF2B5EF4-FFF2-40B4-BE49-F238E27FC236}">
                  <a16:creationId xmlns:a16="http://schemas.microsoft.com/office/drawing/2014/main" id="{081ED0BA-0799-FA4D-8583-4A0EFC32B956}"/>
                </a:ext>
              </a:extLst>
            </p:cNvPr>
            <p:cNvSpPr/>
            <p:nvPr userDrawn="1"/>
          </p:nvSpPr>
          <p:spPr>
            <a:xfrm>
              <a:off x="8578800" y="2700000"/>
              <a:ext cx="144000" cy="2876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grpSp>
      <p:sp>
        <p:nvSpPr>
          <p:cNvPr id="46" name="Content Placeholder 45">
            <a:extLst>
              <a:ext uri="{FF2B5EF4-FFF2-40B4-BE49-F238E27FC236}">
                <a16:creationId xmlns:a16="http://schemas.microsoft.com/office/drawing/2014/main" id="{8F0DF677-BD43-DA4E-B8B8-E41225D31D8B}"/>
              </a:ext>
            </a:extLst>
          </p:cNvPr>
          <p:cNvSpPr>
            <a:spLocks noGrp="1"/>
          </p:cNvSpPr>
          <p:nvPr>
            <p:ph sz="quarter" idx="13" hasCustomPrompt="1"/>
          </p:nvPr>
        </p:nvSpPr>
        <p:spPr>
          <a:xfrm>
            <a:off x="10769600" y="3751104"/>
            <a:ext cx="1405755" cy="737616"/>
          </a:xfrm>
          <a:prstGeom prst="rect">
            <a:avLst/>
          </a:prstGeom>
        </p:spPr>
        <p:txBody>
          <a:bodyPr/>
          <a:lstStyle>
            <a:lvl1pPr marL="0" indent="0">
              <a:buNone/>
              <a:defRPr sz="6000" b="1">
                <a:solidFill>
                  <a:schemeClr val="accent1"/>
                </a:solidFill>
                <a:latin typeface="+mn-lt"/>
                <a:cs typeface="Arial" panose="020B0604020202020204" pitchFamily="34" charset="0"/>
              </a:defRPr>
            </a:lvl1pPr>
            <a:lvl2pPr>
              <a:defRPr sz="6000" b="1">
                <a:latin typeface="Gill Sans Nova Medium" panose="020B0602020204020203" pitchFamily="34" charset="0"/>
              </a:defRPr>
            </a:lvl2pPr>
            <a:lvl3pPr>
              <a:defRPr sz="6000" b="1">
                <a:latin typeface="Gill Sans Nova Medium" panose="020B0602020204020203" pitchFamily="34" charset="0"/>
              </a:defRPr>
            </a:lvl3pPr>
            <a:lvl4pPr>
              <a:defRPr sz="6000" b="1">
                <a:latin typeface="Gill Sans Nova Medium" panose="020B0602020204020203" pitchFamily="34" charset="0"/>
              </a:defRPr>
            </a:lvl4pPr>
            <a:lvl5pPr>
              <a:defRPr sz="6000" b="1">
                <a:latin typeface="Gill Sans Nova Medium" panose="020B0602020204020203" pitchFamily="34" charset="0"/>
              </a:defRPr>
            </a:lvl5pPr>
          </a:lstStyle>
          <a:p>
            <a:pPr lvl="0"/>
            <a:r>
              <a:rPr lang="en-US"/>
              <a:t>#</a:t>
            </a:r>
          </a:p>
        </p:txBody>
      </p:sp>
    </p:spTree>
    <p:extLst>
      <p:ext uri="{BB962C8B-B14F-4D97-AF65-F5344CB8AC3E}">
        <p14:creationId xmlns:p14="http://schemas.microsoft.com/office/powerpoint/2010/main" val="19648182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 Image Lef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64FF30B-F186-7E6C-BD2C-30E26DCF8005}"/>
              </a:ext>
            </a:extLst>
          </p:cNvPr>
          <p:cNvGraphicFramePr>
            <a:graphicFrameLocks noChangeAspect="1"/>
          </p:cNvGraphicFramePr>
          <p:nvPr userDrawn="1">
            <p:custDataLst>
              <p:tags r:id="rId1"/>
            </p:custDataLst>
            <p:extLst>
              <p:ext uri="{D42A27DB-BD31-4B8C-83A1-F6EECF244321}">
                <p14:modId xmlns:p14="http://schemas.microsoft.com/office/powerpoint/2010/main" val="1890443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D64FF30B-F186-7E6C-BD2C-30E26DCF8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Picture Placeholder 17">
            <a:extLst>
              <a:ext uri="{FF2B5EF4-FFF2-40B4-BE49-F238E27FC236}">
                <a16:creationId xmlns:a16="http://schemas.microsoft.com/office/drawing/2014/main" id="{7B273F5A-358C-844B-BC52-FF77B8FCB683}"/>
              </a:ext>
            </a:extLst>
          </p:cNvPr>
          <p:cNvSpPr>
            <a:spLocks noGrp="1" noChangeAspect="1"/>
          </p:cNvSpPr>
          <p:nvPr>
            <p:ph type="pic" sz="quarter" idx="10"/>
          </p:nvPr>
        </p:nvSpPr>
        <p:spPr>
          <a:xfrm>
            <a:off x="0" y="0"/>
            <a:ext cx="5994400" cy="6248400"/>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2" name="Title 1"/>
          <p:cNvSpPr>
            <a:spLocks noGrp="1"/>
          </p:cNvSpPr>
          <p:nvPr>
            <p:ph type="title" hasCustomPrompt="1"/>
          </p:nvPr>
        </p:nvSpPr>
        <p:spPr>
          <a:xfrm>
            <a:off x="6197600" y="382589"/>
            <a:ext cx="5283200"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defRPr sz="2800" b="1" i="0" u="none" kern="1200" spc="0">
                <a:solidFill>
                  <a:schemeClr val="tx2">
                    <a:lumMod val="100000"/>
                  </a:schemeClr>
                </a:solidFill>
                <a:latin typeface="+mn-lt"/>
                <a:cs typeface="Arial" panose="020B0604020202020204" pitchFamily="34" charset="0"/>
              </a:defRPr>
            </a:lvl1pPr>
          </a:lstStyle>
          <a:p>
            <a:pPr lvl="0"/>
            <a:r>
              <a:rPr lang="en-US" b="1"/>
              <a:t>Title (keep this to 1 line)</a:t>
            </a:r>
            <a:endParaRPr lang="en-US"/>
          </a:p>
        </p:txBody>
      </p:sp>
      <p:sp>
        <p:nvSpPr>
          <p:cNvPr id="4" name="Text Placeholder 3"/>
          <p:cNvSpPr>
            <a:spLocks noGrp="1"/>
          </p:cNvSpPr>
          <p:nvPr>
            <p:ph idx="1"/>
          </p:nvPr>
        </p:nvSpPr>
        <p:spPr>
          <a:xfrm>
            <a:off x="6197600" y="1447799"/>
            <a:ext cx="5283200" cy="4800600"/>
          </a:xfrm>
          <a:prstGeom prst="rect">
            <a:avLst/>
          </a:prstGeom>
        </p:spPr>
        <p:txBody>
          <a:bodyPr vert="horz" lIns="0" tIns="0" rIns="0" bIns="0" rtlCol="0">
            <a:normAutofit/>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hasCustomPrompt="1"/>
          </p:nvPr>
        </p:nvSpPr>
        <p:spPr>
          <a:xfrm>
            <a:off x="6197600" y="760265"/>
            <a:ext cx="5283200"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use only if title is one line long)</a:t>
            </a:r>
            <a:endParaRPr lang="en-US"/>
          </a:p>
        </p:txBody>
      </p:sp>
    </p:spTree>
    <p:extLst>
      <p:ext uri="{BB962C8B-B14F-4D97-AF65-F5344CB8AC3E}">
        <p14:creationId xmlns:p14="http://schemas.microsoft.com/office/powerpoint/2010/main" val="406474512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ull Image Grid Lef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198FFD-079A-7562-1A1B-890D24CC946C}"/>
              </a:ext>
            </a:extLst>
          </p:cNvPr>
          <p:cNvGraphicFramePr>
            <a:graphicFrameLocks noChangeAspect="1"/>
          </p:cNvGraphicFramePr>
          <p:nvPr userDrawn="1">
            <p:custDataLst>
              <p:tags r:id="rId1"/>
            </p:custDataLst>
            <p:extLst>
              <p:ext uri="{D42A27DB-BD31-4B8C-83A1-F6EECF244321}">
                <p14:modId xmlns:p14="http://schemas.microsoft.com/office/powerpoint/2010/main" val="393655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BE198FFD-079A-7562-1A1B-890D24CC94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Picture Placeholder 17">
            <a:extLst>
              <a:ext uri="{FF2B5EF4-FFF2-40B4-BE49-F238E27FC236}">
                <a16:creationId xmlns:a16="http://schemas.microsoft.com/office/drawing/2014/main" id="{7B273F5A-358C-844B-BC52-FF77B8FCB683}"/>
              </a:ext>
            </a:extLst>
          </p:cNvPr>
          <p:cNvSpPr>
            <a:spLocks noGrp="1" noChangeAspect="1"/>
          </p:cNvSpPr>
          <p:nvPr>
            <p:ph type="pic" sz="quarter" idx="10"/>
          </p:nvPr>
        </p:nvSpPr>
        <p:spPr>
          <a:xfrm>
            <a:off x="0" y="0"/>
            <a:ext cx="2946397" cy="2286000"/>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11" name="Picture Placeholder 17">
            <a:extLst>
              <a:ext uri="{FF2B5EF4-FFF2-40B4-BE49-F238E27FC236}">
                <a16:creationId xmlns:a16="http://schemas.microsoft.com/office/drawing/2014/main" id="{09EFC098-2F91-334F-8B6C-3780EE5FA027}"/>
              </a:ext>
            </a:extLst>
          </p:cNvPr>
          <p:cNvSpPr>
            <a:spLocks noGrp="1" noChangeAspect="1"/>
          </p:cNvSpPr>
          <p:nvPr>
            <p:ph type="pic" sz="quarter" idx="11"/>
          </p:nvPr>
        </p:nvSpPr>
        <p:spPr>
          <a:xfrm>
            <a:off x="2946397" y="0"/>
            <a:ext cx="3048000" cy="4572000"/>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14" name="Picture Placeholder 17">
            <a:extLst>
              <a:ext uri="{FF2B5EF4-FFF2-40B4-BE49-F238E27FC236}">
                <a16:creationId xmlns:a16="http://schemas.microsoft.com/office/drawing/2014/main" id="{F2C0E3B3-9114-D041-8DBA-3CEB0224D4FD}"/>
              </a:ext>
            </a:extLst>
          </p:cNvPr>
          <p:cNvSpPr>
            <a:spLocks noGrp="1" noChangeAspect="1"/>
          </p:cNvSpPr>
          <p:nvPr>
            <p:ph type="pic" sz="quarter" idx="12"/>
          </p:nvPr>
        </p:nvSpPr>
        <p:spPr>
          <a:xfrm>
            <a:off x="0" y="4572000"/>
            <a:ext cx="5994400" cy="1676400"/>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16" name="Picture Placeholder 17">
            <a:extLst>
              <a:ext uri="{FF2B5EF4-FFF2-40B4-BE49-F238E27FC236}">
                <a16:creationId xmlns:a16="http://schemas.microsoft.com/office/drawing/2014/main" id="{1E962DCB-3949-8B48-B949-6878840C1495}"/>
              </a:ext>
            </a:extLst>
          </p:cNvPr>
          <p:cNvSpPr>
            <a:spLocks noGrp="1" noChangeAspect="1"/>
          </p:cNvSpPr>
          <p:nvPr>
            <p:ph type="pic" sz="quarter" idx="13"/>
          </p:nvPr>
        </p:nvSpPr>
        <p:spPr>
          <a:xfrm>
            <a:off x="0" y="2286000"/>
            <a:ext cx="2946397" cy="2286000"/>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4" name="Text Placeholder 3"/>
          <p:cNvSpPr>
            <a:spLocks noGrp="1"/>
          </p:cNvSpPr>
          <p:nvPr>
            <p:ph type="body" sz="quarter" idx="14"/>
          </p:nvPr>
        </p:nvSpPr>
        <p:spPr>
          <a:xfrm>
            <a:off x="6197600" y="1447799"/>
            <a:ext cx="5283200" cy="4800600"/>
          </a:xfrm>
        </p:spPr>
        <p:txBody>
          <a:bodyPr lIns="0" tIns="0" rIns="0" bIns="0"/>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5" hasCustomPrompt="1"/>
          </p:nvPr>
        </p:nvSpPr>
        <p:spPr>
          <a:xfrm>
            <a:off x="6197600" y="760265"/>
            <a:ext cx="5283200"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use only if title is one line long)</a:t>
            </a:r>
            <a:endParaRPr lang="en-US"/>
          </a:p>
        </p:txBody>
      </p:sp>
      <p:sp>
        <p:nvSpPr>
          <p:cNvPr id="10" name="Title 1"/>
          <p:cNvSpPr>
            <a:spLocks noGrp="1"/>
          </p:cNvSpPr>
          <p:nvPr>
            <p:ph type="title" hasCustomPrompt="1"/>
          </p:nvPr>
        </p:nvSpPr>
        <p:spPr>
          <a:xfrm>
            <a:off x="6197600" y="382589"/>
            <a:ext cx="5283200"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defRPr sz="2800" b="1" i="0" u="none" kern="1200" spc="0">
                <a:solidFill>
                  <a:schemeClr val="tx2">
                    <a:lumMod val="100000"/>
                  </a:schemeClr>
                </a:solidFill>
                <a:latin typeface="+mn-lt"/>
                <a:cs typeface="Arial" panose="020B0604020202020204" pitchFamily="34" charset="0"/>
              </a:defRPr>
            </a:lvl1pPr>
          </a:lstStyle>
          <a:p>
            <a:pPr lvl="0"/>
            <a:r>
              <a:rPr lang="en-US" b="1"/>
              <a:t>Title (keep this to 1 line)</a:t>
            </a:r>
            <a:endParaRPr lang="en-US"/>
          </a:p>
        </p:txBody>
      </p:sp>
    </p:spTree>
    <p:extLst>
      <p:ext uri="{BB962C8B-B14F-4D97-AF65-F5344CB8AC3E}">
        <p14:creationId xmlns:p14="http://schemas.microsoft.com/office/powerpoint/2010/main" val="390052442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stimonial Grid Lef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BEE910-96DE-BC76-FE81-201D9537751E}"/>
              </a:ext>
            </a:extLst>
          </p:cNvPr>
          <p:cNvGraphicFramePr>
            <a:graphicFrameLocks noChangeAspect="1"/>
          </p:cNvGraphicFramePr>
          <p:nvPr userDrawn="1">
            <p:custDataLst>
              <p:tags r:id="rId1"/>
            </p:custDataLst>
            <p:extLst>
              <p:ext uri="{D42A27DB-BD31-4B8C-83A1-F6EECF244321}">
                <p14:modId xmlns:p14="http://schemas.microsoft.com/office/powerpoint/2010/main" val="1792504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13BEE910-96DE-BC76-FE81-201D953775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hasCustomPrompt="1"/>
          </p:nvPr>
        </p:nvSpPr>
        <p:spPr>
          <a:xfrm>
            <a:off x="6197600" y="382589"/>
            <a:ext cx="5283200"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defRPr sz="2800" b="1" i="0" u="none" kern="1200" spc="0">
                <a:solidFill>
                  <a:schemeClr val="tx2">
                    <a:lumMod val="100000"/>
                  </a:schemeClr>
                </a:solidFill>
                <a:latin typeface="+mn-lt"/>
                <a:cs typeface="Arial" panose="020B0604020202020204" pitchFamily="34" charset="0"/>
              </a:defRPr>
            </a:lvl1pPr>
          </a:lstStyle>
          <a:p>
            <a:pPr lvl="0"/>
            <a:r>
              <a:rPr lang="en-US" b="1"/>
              <a:t>Title (keep this to 1 line)</a:t>
            </a:r>
            <a:endParaRPr lang="en-US"/>
          </a:p>
        </p:txBody>
      </p:sp>
      <p:sp>
        <p:nvSpPr>
          <p:cNvPr id="5" name="Text Placeholder 4"/>
          <p:cNvSpPr>
            <a:spLocks noGrp="1"/>
          </p:cNvSpPr>
          <p:nvPr>
            <p:ph type="body" sz="quarter" idx="13"/>
          </p:nvPr>
        </p:nvSpPr>
        <p:spPr>
          <a:xfrm>
            <a:off x="6197600" y="1447801"/>
            <a:ext cx="5283200" cy="4801673"/>
          </a:xfrm>
        </p:spPr>
        <p:txBody>
          <a:bodyPr lIns="0" tIns="0" rIns="0" bIns="0"/>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hasCustomPrompt="1"/>
          </p:nvPr>
        </p:nvSpPr>
        <p:spPr>
          <a:xfrm>
            <a:off x="6197600" y="760265"/>
            <a:ext cx="5283200"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use only if title is one line long)</a:t>
            </a:r>
            <a:endParaRPr lang="en-US"/>
          </a:p>
        </p:txBody>
      </p:sp>
      <p:sp>
        <p:nvSpPr>
          <p:cNvPr id="22" name="Picture Placeholder 17">
            <a:extLst>
              <a:ext uri="{FF2B5EF4-FFF2-40B4-BE49-F238E27FC236}">
                <a16:creationId xmlns:a16="http://schemas.microsoft.com/office/drawing/2014/main" id="{09EFC098-2F91-334F-8B6C-3780EE5FA027}"/>
              </a:ext>
            </a:extLst>
          </p:cNvPr>
          <p:cNvSpPr>
            <a:spLocks noGrp="1" noChangeAspect="1"/>
          </p:cNvSpPr>
          <p:nvPr>
            <p:ph type="pic" sz="quarter" idx="11"/>
          </p:nvPr>
        </p:nvSpPr>
        <p:spPr>
          <a:xfrm>
            <a:off x="0" y="2084832"/>
            <a:ext cx="2779776" cy="2084400"/>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23" name="Picture Placeholder 17">
            <a:extLst>
              <a:ext uri="{FF2B5EF4-FFF2-40B4-BE49-F238E27FC236}">
                <a16:creationId xmlns:a16="http://schemas.microsoft.com/office/drawing/2014/main" id="{7B273F5A-358C-844B-BC52-FF77B8FCB683}"/>
              </a:ext>
            </a:extLst>
          </p:cNvPr>
          <p:cNvSpPr>
            <a:spLocks noGrp="1" noChangeAspect="1"/>
          </p:cNvSpPr>
          <p:nvPr>
            <p:ph type="pic" sz="quarter" idx="10"/>
          </p:nvPr>
        </p:nvSpPr>
        <p:spPr>
          <a:xfrm>
            <a:off x="2779776" y="0"/>
            <a:ext cx="2779776" cy="2084832"/>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24" name="Picture Placeholder 17">
            <a:extLst>
              <a:ext uri="{FF2B5EF4-FFF2-40B4-BE49-F238E27FC236}">
                <a16:creationId xmlns:a16="http://schemas.microsoft.com/office/drawing/2014/main" id="{F2C0E3B3-9114-D041-8DBA-3CEB0224D4FD}"/>
              </a:ext>
            </a:extLst>
          </p:cNvPr>
          <p:cNvSpPr>
            <a:spLocks noGrp="1" noChangeAspect="1"/>
          </p:cNvSpPr>
          <p:nvPr>
            <p:ph type="pic" sz="quarter" idx="12"/>
          </p:nvPr>
        </p:nvSpPr>
        <p:spPr>
          <a:xfrm>
            <a:off x="2779778" y="4169232"/>
            <a:ext cx="2773655" cy="2080240"/>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25" name="Rectangle 24">
            <a:extLst>
              <a:ext uri="{FF2B5EF4-FFF2-40B4-BE49-F238E27FC236}">
                <a16:creationId xmlns:a16="http://schemas.microsoft.com/office/drawing/2014/main" id="{BDFB67B6-B5BD-544C-BE4E-25593DD27176}"/>
              </a:ext>
            </a:extLst>
          </p:cNvPr>
          <p:cNvSpPr>
            <a:spLocks noChangeAspect="1"/>
          </p:cNvSpPr>
          <p:nvPr userDrawn="1"/>
        </p:nvSpPr>
        <p:spPr>
          <a:xfrm>
            <a:off x="0" y="0"/>
            <a:ext cx="2779776" cy="20848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sp>
        <p:nvSpPr>
          <p:cNvPr id="26" name="Rectangle 25">
            <a:extLst>
              <a:ext uri="{FF2B5EF4-FFF2-40B4-BE49-F238E27FC236}">
                <a16:creationId xmlns:a16="http://schemas.microsoft.com/office/drawing/2014/main" id="{8E2810D9-1622-3248-9A5F-722813269449}"/>
              </a:ext>
            </a:extLst>
          </p:cNvPr>
          <p:cNvSpPr>
            <a:spLocks noChangeAspect="1"/>
          </p:cNvSpPr>
          <p:nvPr userDrawn="1"/>
        </p:nvSpPr>
        <p:spPr>
          <a:xfrm>
            <a:off x="2779776" y="2084832"/>
            <a:ext cx="2779776" cy="208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sp>
        <p:nvSpPr>
          <p:cNvPr id="27" name="Rectangle 26">
            <a:extLst>
              <a:ext uri="{FF2B5EF4-FFF2-40B4-BE49-F238E27FC236}">
                <a16:creationId xmlns:a16="http://schemas.microsoft.com/office/drawing/2014/main" id="{B344A918-9968-DA4B-8684-A5D0F18368D9}"/>
              </a:ext>
            </a:extLst>
          </p:cNvPr>
          <p:cNvSpPr>
            <a:spLocks noChangeAspect="1"/>
          </p:cNvSpPr>
          <p:nvPr userDrawn="1"/>
        </p:nvSpPr>
        <p:spPr>
          <a:xfrm>
            <a:off x="1" y="4169232"/>
            <a:ext cx="2773655" cy="20802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cs typeface="Arial" panose="020B0604020202020204" pitchFamily="34" charset="0"/>
            </a:endParaRPr>
          </a:p>
        </p:txBody>
      </p:sp>
    </p:spTree>
    <p:extLst>
      <p:ext uri="{BB962C8B-B14F-4D97-AF65-F5344CB8AC3E}">
        <p14:creationId xmlns:p14="http://schemas.microsoft.com/office/powerpoint/2010/main" val="285775327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w/ Frame Lef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3D1F3B1-AFD7-05C6-A9C3-FBA172E4431C}"/>
              </a:ext>
            </a:extLst>
          </p:cNvPr>
          <p:cNvGraphicFramePr>
            <a:graphicFrameLocks noChangeAspect="1"/>
          </p:cNvGraphicFramePr>
          <p:nvPr userDrawn="1">
            <p:custDataLst>
              <p:tags r:id="rId1"/>
            </p:custDataLst>
            <p:extLst>
              <p:ext uri="{D42A27DB-BD31-4B8C-83A1-F6EECF244321}">
                <p14:modId xmlns:p14="http://schemas.microsoft.com/office/powerpoint/2010/main" val="2574128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D3D1F3B1-AFD7-05C6-A9C3-FBA172E443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a:extLst>
              <a:ext uri="{FF2B5EF4-FFF2-40B4-BE49-F238E27FC236}">
                <a16:creationId xmlns:a16="http://schemas.microsoft.com/office/drawing/2014/main" id="{E84EBB5C-07B9-844F-963B-676252195196}"/>
              </a:ext>
            </a:extLst>
          </p:cNvPr>
          <p:cNvSpPr/>
          <p:nvPr userDrawn="1"/>
        </p:nvSpPr>
        <p:spPr>
          <a:xfrm>
            <a:off x="0" y="0"/>
            <a:ext cx="5994400" cy="624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latin typeface="+mn-lt"/>
              <a:cs typeface="Arial" panose="020B0604020202020204" pitchFamily="34" charset="0"/>
            </a:endParaRPr>
          </a:p>
        </p:txBody>
      </p:sp>
      <p:sp>
        <p:nvSpPr>
          <p:cNvPr id="16" name="Picture Placeholder 17">
            <a:extLst>
              <a:ext uri="{FF2B5EF4-FFF2-40B4-BE49-F238E27FC236}">
                <a16:creationId xmlns:a16="http://schemas.microsoft.com/office/drawing/2014/main" id="{5FEF5DB3-D488-AA4C-A7EB-564CAD99A914}"/>
              </a:ext>
            </a:extLst>
          </p:cNvPr>
          <p:cNvSpPr>
            <a:spLocks noGrp="1"/>
          </p:cNvSpPr>
          <p:nvPr>
            <p:ph type="pic" sz="quarter" idx="10"/>
          </p:nvPr>
        </p:nvSpPr>
        <p:spPr>
          <a:xfrm>
            <a:off x="711200" y="609601"/>
            <a:ext cx="4368800" cy="5137573"/>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2" name="Title 1"/>
          <p:cNvSpPr>
            <a:spLocks noGrp="1"/>
          </p:cNvSpPr>
          <p:nvPr>
            <p:ph type="title" hasCustomPrompt="1"/>
          </p:nvPr>
        </p:nvSpPr>
        <p:spPr>
          <a:xfrm>
            <a:off x="6197600" y="382589"/>
            <a:ext cx="5283200"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defRPr sz="2800" b="1" i="0" u="none" kern="1200" spc="0">
                <a:solidFill>
                  <a:schemeClr val="tx2">
                    <a:lumMod val="100000"/>
                  </a:schemeClr>
                </a:solidFill>
                <a:latin typeface="+mn-lt"/>
                <a:cs typeface="Arial" panose="020B0604020202020204" pitchFamily="34" charset="0"/>
              </a:defRPr>
            </a:lvl1pPr>
          </a:lstStyle>
          <a:p>
            <a:pPr lvl="0"/>
            <a:r>
              <a:rPr lang="en-US" b="1"/>
              <a:t>Title (keep this to 1 line)</a:t>
            </a:r>
            <a:endParaRPr lang="en-US"/>
          </a:p>
        </p:txBody>
      </p:sp>
      <p:sp>
        <p:nvSpPr>
          <p:cNvPr id="4" name="Text Placeholder 3"/>
          <p:cNvSpPr>
            <a:spLocks noGrp="1"/>
          </p:cNvSpPr>
          <p:nvPr>
            <p:ph type="body" sz="quarter" idx="11"/>
          </p:nvPr>
        </p:nvSpPr>
        <p:spPr>
          <a:xfrm>
            <a:off x="6197600" y="1447799"/>
            <a:ext cx="5283200" cy="4800600"/>
          </a:xfrm>
        </p:spPr>
        <p:txBody>
          <a:bodyPr lIns="0" tIns="0" rIns="0" bIns="0"/>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hasCustomPrompt="1"/>
          </p:nvPr>
        </p:nvSpPr>
        <p:spPr>
          <a:xfrm>
            <a:off x="6197600" y="760265"/>
            <a:ext cx="5283200"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use only if title is one line long)</a:t>
            </a:r>
            <a:endParaRPr lang="en-US"/>
          </a:p>
        </p:txBody>
      </p:sp>
    </p:spTree>
    <p:extLst>
      <p:ext uri="{BB962C8B-B14F-4D97-AF65-F5344CB8AC3E}">
        <p14:creationId xmlns:p14="http://schemas.microsoft.com/office/powerpoint/2010/main" val="3935445048"/>
      </p:ext>
    </p:extLst>
  </p:cSld>
  <p:clrMapOvr>
    <a:masterClrMapping/>
  </p:clrMapOvr>
  <p:extLst>
    <p:ext uri="{DCECCB84-F9BA-43D5-87BE-67443E8EF086}">
      <p15:sldGuideLst xmlns:p15="http://schemas.microsoft.com/office/powerpoint/2012/main">
        <p15:guide id="1" orient="horz" pos="108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ynamic Layout Lef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C4EA2D0-C20D-3BB6-D852-1441E2A17CFC}"/>
              </a:ext>
            </a:extLst>
          </p:cNvPr>
          <p:cNvGraphicFramePr>
            <a:graphicFrameLocks noChangeAspect="1"/>
          </p:cNvGraphicFramePr>
          <p:nvPr userDrawn="1">
            <p:custDataLst>
              <p:tags r:id="rId1"/>
            </p:custDataLst>
            <p:extLst>
              <p:ext uri="{D42A27DB-BD31-4B8C-83A1-F6EECF244321}">
                <p14:modId xmlns:p14="http://schemas.microsoft.com/office/powerpoint/2010/main" val="3664573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EC4EA2D0-C20D-3BB6-D852-1441E2A17C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a:extLst>
              <a:ext uri="{FF2B5EF4-FFF2-40B4-BE49-F238E27FC236}">
                <a16:creationId xmlns:a16="http://schemas.microsoft.com/office/drawing/2014/main" id="{AAD0EB6C-E970-CB40-AF4A-A3A025E055D0}"/>
              </a:ext>
            </a:extLst>
          </p:cNvPr>
          <p:cNvSpPr/>
          <p:nvPr userDrawn="1"/>
        </p:nvSpPr>
        <p:spPr>
          <a:xfrm>
            <a:off x="0" y="0"/>
            <a:ext cx="5994400" cy="624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latin typeface="+mn-lt"/>
              <a:cs typeface="Arial" panose="020B0604020202020204" pitchFamily="34" charset="0"/>
            </a:endParaRPr>
          </a:p>
        </p:txBody>
      </p:sp>
      <p:sp>
        <p:nvSpPr>
          <p:cNvPr id="18" name="Picture Placeholder 17">
            <a:extLst>
              <a:ext uri="{FF2B5EF4-FFF2-40B4-BE49-F238E27FC236}">
                <a16:creationId xmlns:a16="http://schemas.microsoft.com/office/drawing/2014/main" id="{7B273F5A-358C-844B-BC52-FF77B8FCB683}"/>
              </a:ext>
            </a:extLst>
          </p:cNvPr>
          <p:cNvSpPr>
            <a:spLocks noGrp="1" noChangeAspect="1"/>
          </p:cNvSpPr>
          <p:nvPr>
            <p:ph type="pic" sz="quarter" idx="10"/>
          </p:nvPr>
        </p:nvSpPr>
        <p:spPr>
          <a:xfrm>
            <a:off x="711200" y="1447799"/>
            <a:ext cx="6197600" cy="3540760"/>
          </a:xfrm>
          <a:prstGeom prst="rect">
            <a:avLst/>
          </a:prstGeom>
          <a:pattFill prst="pct20">
            <a:fgClr>
              <a:schemeClr val="tx2"/>
            </a:fgClr>
            <a:bgClr>
              <a:schemeClr val="bg1"/>
            </a:bgClr>
          </a:pattFill>
        </p:spPr>
        <p:txBody>
          <a:bodyPr/>
          <a:lstStyle>
            <a:lvl1pPr>
              <a:defRPr>
                <a:noFill/>
                <a:latin typeface="+mn-lt"/>
                <a:cs typeface="Arial" panose="020B0604020202020204" pitchFamily="34" charset="0"/>
              </a:defRPr>
            </a:lvl1pPr>
          </a:lstStyle>
          <a:p>
            <a:endParaRPr lang="en-US"/>
          </a:p>
        </p:txBody>
      </p:sp>
      <p:sp>
        <p:nvSpPr>
          <p:cNvPr id="2" name="Title 1"/>
          <p:cNvSpPr>
            <a:spLocks noGrp="1"/>
          </p:cNvSpPr>
          <p:nvPr>
            <p:ph type="title" hasCustomPrompt="1"/>
          </p:nvPr>
        </p:nvSpPr>
        <p:spPr>
          <a:xfrm>
            <a:off x="6197600" y="382589"/>
            <a:ext cx="5283200"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defRPr sz="2800" b="1" i="0" u="none" kern="1200" spc="0">
                <a:solidFill>
                  <a:schemeClr val="tx2">
                    <a:lumMod val="100000"/>
                  </a:schemeClr>
                </a:solidFill>
                <a:latin typeface="+mn-lt"/>
                <a:cs typeface="Arial" panose="020B0604020202020204" pitchFamily="34" charset="0"/>
              </a:defRPr>
            </a:lvl1pPr>
          </a:lstStyle>
          <a:p>
            <a:pPr lvl="0"/>
            <a:r>
              <a:rPr lang="en-US" b="1"/>
              <a:t>Title (keep this to 1 line)</a:t>
            </a:r>
            <a:endParaRPr lang="en-US"/>
          </a:p>
        </p:txBody>
      </p:sp>
      <p:sp>
        <p:nvSpPr>
          <p:cNvPr id="4" name="Text Placeholder 3"/>
          <p:cNvSpPr>
            <a:spLocks noGrp="1"/>
          </p:cNvSpPr>
          <p:nvPr>
            <p:ph type="body" sz="quarter" idx="11"/>
          </p:nvPr>
        </p:nvSpPr>
        <p:spPr>
          <a:xfrm>
            <a:off x="7112000" y="1447799"/>
            <a:ext cx="4368800" cy="3540760"/>
          </a:xfrm>
        </p:spPr>
        <p:txBody>
          <a:bodyPr lIns="0" tIns="0" rIns="0" bIns="0"/>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hasCustomPrompt="1"/>
          </p:nvPr>
        </p:nvSpPr>
        <p:spPr>
          <a:xfrm>
            <a:off x="6197600" y="760265"/>
            <a:ext cx="5283200"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use only if title is one line long)</a:t>
            </a:r>
            <a:endParaRPr lang="en-US"/>
          </a:p>
        </p:txBody>
      </p:sp>
    </p:spTree>
    <p:extLst>
      <p:ext uri="{BB962C8B-B14F-4D97-AF65-F5344CB8AC3E}">
        <p14:creationId xmlns:p14="http://schemas.microsoft.com/office/powerpoint/2010/main" val="23289158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s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35B6B5-9369-6547-88DB-A73F146F4A9F}"/>
              </a:ext>
            </a:extLst>
          </p:cNvPr>
          <p:cNvSpPr/>
          <p:nvPr userDrawn="1"/>
        </p:nvSpPr>
        <p:spPr>
          <a:xfrm>
            <a:off x="0" y="0"/>
            <a:ext cx="12192000" cy="624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12" name="Text Placeholder 11">
            <a:extLst>
              <a:ext uri="{FF2B5EF4-FFF2-40B4-BE49-F238E27FC236}">
                <a16:creationId xmlns:a16="http://schemas.microsoft.com/office/drawing/2014/main" id="{B466677D-F2A3-584E-B380-A2D316AAD755}"/>
              </a:ext>
            </a:extLst>
          </p:cNvPr>
          <p:cNvSpPr>
            <a:spLocks noGrp="1"/>
          </p:cNvSpPr>
          <p:nvPr>
            <p:ph type="body" sz="quarter" idx="10" hasCustomPrompt="1"/>
          </p:nvPr>
        </p:nvSpPr>
        <p:spPr>
          <a:xfrm>
            <a:off x="711200" y="609600"/>
            <a:ext cx="10769600" cy="4724401"/>
          </a:xfrm>
          <a:prstGeom prst="rect">
            <a:avLst/>
          </a:prstGeom>
          <a:ln>
            <a:solidFill>
              <a:schemeClr val="accent1"/>
            </a:solidFill>
          </a:ln>
        </p:spPr>
        <p:txBody>
          <a:bodyPr wrap="square" lIns="182880" tIns="182880" rIns="182880" bIns="182880" anchor="ctr" anchorCtr="1">
            <a:normAutofit/>
          </a:bodyPr>
          <a:lstStyle>
            <a:lvl1pPr marL="0" indent="0">
              <a:lnSpc>
                <a:spcPts val="4800"/>
              </a:lnSpc>
              <a:buNone/>
              <a:defRPr sz="4800" b="1" i="0">
                <a:solidFill>
                  <a:schemeClr val="bg1"/>
                </a:solidFill>
                <a:latin typeface="+mn-lt"/>
                <a:cs typeface="Arial" panose="020B0604020202020204" pitchFamily="34" charset="0"/>
              </a:defRPr>
            </a:lvl1pPr>
          </a:lstStyle>
          <a:p>
            <a:pPr lvl="0"/>
            <a:r>
              <a:rPr lang="en-US"/>
              <a:t>INSIGHTS IN ALL CAPS</a:t>
            </a:r>
          </a:p>
        </p:txBody>
      </p:sp>
    </p:spTree>
    <p:extLst>
      <p:ext uri="{BB962C8B-B14F-4D97-AF65-F5344CB8AC3E}">
        <p14:creationId xmlns:p14="http://schemas.microsoft.com/office/powerpoint/2010/main" val="41423791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D684FC71-5110-D740-A668-A3F85F5AA6D4}"/>
              </a:ext>
            </a:extLst>
          </p:cNvPr>
          <p:cNvSpPr>
            <a:spLocks noGrp="1"/>
          </p:cNvSpPr>
          <p:nvPr>
            <p:ph type="pic" sz="quarter" idx="10"/>
          </p:nvPr>
        </p:nvSpPr>
        <p:spPr>
          <a:xfrm>
            <a:off x="1" y="0"/>
            <a:ext cx="12191999" cy="6248400"/>
          </a:xfrm>
          <a:prstGeom prst="rect">
            <a:avLst/>
          </a:prstGeom>
          <a:pattFill prst="pct20">
            <a:fgClr>
              <a:schemeClr val="tx2"/>
            </a:fgClr>
            <a:bgClr>
              <a:schemeClr val="bg1"/>
            </a:bgClr>
          </a:pattFill>
        </p:spPr>
        <p:txBody>
          <a:bodyPr/>
          <a:lstStyle>
            <a:lvl1pPr>
              <a:defRPr>
                <a:noFill/>
              </a:defRPr>
            </a:lvl1pPr>
          </a:lstStyle>
          <a:p>
            <a:r>
              <a:rPr lang="en-US"/>
              <a:t>Click icon to add picture</a:t>
            </a:r>
          </a:p>
        </p:txBody>
      </p:sp>
    </p:spTree>
    <p:extLst>
      <p:ext uri="{BB962C8B-B14F-4D97-AF65-F5344CB8AC3E}">
        <p14:creationId xmlns:p14="http://schemas.microsoft.com/office/powerpoint/2010/main" val="16837712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9A310EF-C2FE-3C84-E984-024A7BB868C3}"/>
              </a:ext>
            </a:extLst>
          </p:cNvPr>
          <p:cNvGraphicFramePr>
            <a:graphicFrameLocks noChangeAspect="1"/>
          </p:cNvGraphicFramePr>
          <p:nvPr userDrawn="1">
            <p:custDataLst>
              <p:tags r:id="rId1"/>
            </p:custDataLst>
            <p:extLst>
              <p:ext uri="{D42A27DB-BD31-4B8C-83A1-F6EECF244321}">
                <p14:modId xmlns:p14="http://schemas.microsoft.com/office/powerpoint/2010/main" val="1864726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3" name="think-cell data - do not delete" hidden="1">
                        <a:extLst>
                          <a:ext uri="{FF2B5EF4-FFF2-40B4-BE49-F238E27FC236}">
                            <a16:creationId xmlns:a16="http://schemas.microsoft.com/office/drawing/2014/main" id="{59A310EF-C2FE-3C84-E984-024A7BB868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521711-3A75-3743-A297-695587AC5445}"/>
              </a:ext>
            </a:extLst>
          </p:cNvPr>
          <p:cNvSpPr>
            <a:spLocks noGrp="1"/>
          </p:cNvSpPr>
          <p:nvPr>
            <p:ph type="body" sz="quarter" idx="11" hasCustomPrompt="1"/>
          </p:nvPr>
        </p:nvSpPr>
        <p:spPr>
          <a:xfrm>
            <a:off x="946926" y="144780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Agenda Item</a:t>
            </a:r>
          </a:p>
        </p:txBody>
      </p:sp>
      <p:sp>
        <p:nvSpPr>
          <p:cNvPr id="51" name="Text Placeholder 4">
            <a:extLst>
              <a:ext uri="{FF2B5EF4-FFF2-40B4-BE49-F238E27FC236}">
                <a16:creationId xmlns:a16="http://schemas.microsoft.com/office/drawing/2014/main" id="{43471984-396C-4449-B263-A239F25446FF}"/>
              </a:ext>
            </a:extLst>
          </p:cNvPr>
          <p:cNvSpPr>
            <a:spLocks noGrp="1"/>
          </p:cNvSpPr>
          <p:nvPr>
            <p:ph type="body" sz="quarter" idx="12" hasCustomPrompt="1"/>
          </p:nvPr>
        </p:nvSpPr>
        <p:spPr>
          <a:xfrm>
            <a:off x="946926" y="222504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Agenda Item</a:t>
            </a:r>
          </a:p>
        </p:txBody>
      </p:sp>
      <p:sp>
        <p:nvSpPr>
          <p:cNvPr id="52" name="Text Placeholder 4">
            <a:extLst>
              <a:ext uri="{FF2B5EF4-FFF2-40B4-BE49-F238E27FC236}">
                <a16:creationId xmlns:a16="http://schemas.microsoft.com/office/drawing/2014/main" id="{29C136D0-E494-E24F-B90A-7042198101CB}"/>
              </a:ext>
            </a:extLst>
          </p:cNvPr>
          <p:cNvSpPr>
            <a:spLocks noGrp="1"/>
          </p:cNvSpPr>
          <p:nvPr>
            <p:ph type="body" sz="quarter" idx="13" hasCustomPrompt="1"/>
          </p:nvPr>
        </p:nvSpPr>
        <p:spPr>
          <a:xfrm>
            <a:off x="946926" y="300228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Agenda Item</a:t>
            </a:r>
          </a:p>
        </p:txBody>
      </p:sp>
      <p:sp>
        <p:nvSpPr>
          <p:cNvPr id="53" name="Text Placeholder 4">
            <a:extLst>
              <a:ext uri="{FF2B5EF4-FFF2-40B4-BE49-F238E27FC236}">
                <a16:creationId xmlns:a16="http://schemas.microsoft.com/office/drawing/2014/main" id="{DEDEC461-7391-6640-B021-6187D7670643}"/>
              </a:ext>
            </a:extLst>
          </p:cNvPr>
          <p:cNvSpPr>
            <a:spLocks noGrp="1"/>
          </p:cNvSpPr>
          <p:nvPr>
            <p:ph type="body" sz="quarter" idx="14" hasCustomPrompt="1"/>
          </p:nvPr>
        </p:nvSpPr>
        <p:spPr>
          <a:xfrm>
            <a:off x="946926" y="377952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Agenda Item</a:t>
            </a:r>
          </a:p>
        </p:txBody>
      </p:sp>
      <p:sp>
        <p:nvSpPr>
          <p:cNvPr id="54" name="Text Placeholder 4">
            <a:extLst>
              <a:ext uri="{FF2B5EF4-FFF2-40B4-BE49-F238E27FC236}">
                <a16:creationId xmlns:a16="http://schemas.microsoft.com/office/drawing/2014/main" id="{F8385385-0CF8-E547-BF23-9F5C3BBF97B5}"/>
              </a:ext>
            </a:extLst>
          </p:cNvPr>
          <p:cNvSpPr>
            <a:spLocks noGrp="1"/>
          </p:cNvSpPr>
          <p:nvPr>
            <p:ph type="body" sz="quarter" idx="15" hasCustomPrompt="1"/>
          </p:nvPr>
        </p:nvSpPr>
        <p:spPr>
          <a:xfrm>
            <a:off x="946926" y="455676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Agenda Item</a:t>
            </a:r>
          </a:p>
        </p:txBody>
      </p:sp>
      <p:sp>
        <p:nvSpPr>
          <p:cNvPr id="55" name="Text Placeholder 4">
            <a:extLst>
              <a:ext uri="{FF2B5EF4-FFF2-40B4-BE49-F238E27FC236}">
                <a16:creationId xmlns:a16="http://schemas.microsoft.com/office/drawing/2014/main" id="{BEDA5E1C-B35C-5A4A-8F36-A5FCCE899A45}"/>
              </a:ext>
            </a:extLst>
          </p:cNvPr>
          <p:cNvSpPr>
            <a:spLocks noGrp="1"/>
          </p:cNvSpPr>
          <p:nvPr>
            <p:ph type="body" sz="quarter" idx="16" hasCustomPrompt="1"/>
          </p:nvPr>
        </p:nvSpPr>
        <p:spPr>
          <a:xfrm>
            <a:off x="946926" y="533400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Agenda Item</a:t>
            </a:r>
          </a:p>
        </p:txBody>
      </p:sp>
      <p:sp>
        <p:nvSpPr>
          <p:cNvPr id="2" name="Title 1"/>
          <p:cNvSpPr>
            <a:spLocks noGrp="1"/>
          </p:cNvSpPr>
          <p:nvPr>
            <p:ph type="title" hasCustomPrompt="1"/>
          </p:nvPr>
        </p:nvSpPr>
        <p:spPr>
          <a:xfrm>
            <a:off x="355599" y="382589"/>
            <a:ext cx="11125197" cy="350837"/>
          </a:xfrm>
          <a:prstGeom prst="rect">
            <a:avLst/>
          </a:prstGeom>
        </p:spPr>
        <p:txBody>
          <a:bodyPr vert="horz" anchor="t"/>
          <a:lstStyle>
            <a:lvl1pPr>
              <a:defRPr>
                <a:latin typeface="+mn-lt"/>
                <a:cs typeface="Arial" panose="020B0604020202020204" pitchFamily="34" charset="0"/>
              </a:defRPr>
            </a:lvl1pPr>
          </a:lstStyle>
          <a:p>
            <a:r>
              <a:rPr lang="en-US" b="1"/>
              <a:t>Title (try to keep this to one line)</a:t>
            </a:r>
            <a:endParaRPr lang="en-US"/>
          </a:p>
        </p:txBody>
      </p:sp>
      <p:sp>
        <p:nvSpPr>
          <p:cNvPr id="27" name="Text Placeholder 3"/>
          <p:cNvSpPr>
            <a:spLocks noGrp="1"/>
          </p:cNvSpPr>
          <p:nvPr>
            <p:ph type="body" sz="quarter" idx="17" hasCustomPrompt="1"/>
          </p:nvPr>
        </p:nvSpPr>
        <p:spPr>
          <a:xfrm>
            <a:off x="355599" y="760265"/>
            <a:ext cx="11125197"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
        <p:nvSpPr>
          <p:cNvPr id="3" name="Text Placeholder 14">
            <a:extLst>
              <a:ext uri="{FF2B5EF4-FFF2-40B4-BE49-F238E27FC236}">
                <a16:creationId xmlns:a16="http://schemas.microsoft.com/office/drawing/2014/main" id="{D8C77A41-9DFF-3FA9-4CB8-8FB030F952A3}"/>
              </a:ext>
            </a:extLst>
          </p:cNvPr>
          <p:cNvSpPr>
            <a:spLocks noGrp="1"/>
          </p:cNvSpPr>
          <p:nvPr>
            <p:ph type="body" sz="quarter" idx="25" hasCustomPrompt="1"/>
          </p:nvPr>
        </p:nvSpPr>
        <p:spPr>
          <a:xfrm>
            <a:off x="306970" y="1449240"/>
            <a:ext cx="457200" cy="457200"/>
          </a:xfrm>
          <a:prstGeom prst="ellipse">
            <a:avLst/>
          </a:prstGeom>
          <a:ln w="28575">
            <a:solidFill>
              <a:schemeClr val="accent1"/>
            </a:solidFill>
          </a:ln>
        </p:spPr>
        <p:txBody>
          <a:bodyPr anchor="ctr"/>
          <a:lstStyle>
            <a:lvl1pPr algn="ctr">
              <a:defRPr b="1"/>
            </a:lvl1pPr>
          </a:lstStyle>
          <a:p>
            <a:pPr lvl="0"/>
            <a:r>
              <a:rPr lang="en-US"/>
              <a:t>1</a:t>
            </a:r>
          </a:p>
        </p:txBody>
      </p:sp>
      <p:sp>
        <p:nvSpPr>
          <p:cNvPr id="6" name="Text Placeholder 14">
            <a:extLst>
              <a:ext uri="{FF2B5EF4-FFF2-40B4-BE49-F238E27FC236}">
                <a16:creationId xmlns:a16="http://schemas.microsoft.com/office/drawing/2014/main" id="{6B69B314-E985-F0C0-4A7B-F2DB805DA491}"/>
              </a:ext>
            </a:extLst>
          </p:cNvPr>
          <p:cNvSpPr>
            <a:spLocks noGrp="1"/>
          </p:cNvSpPr>
          <p:nvPr>
            <p:ph type="body" sz="quarter" idx="26" hasCustomPrompt="1"/>
          </p:nvPr>
        </p:nvSpPr>
        <p:spPr>
          <a:xfrm>
            <a:off x="306970" y="2225041"/>
            <a:ext cx="457200" cy="457200"/>
          </a:xfrm>
          <a:prstGeom prst="ellipse">
            <a:avLst/>
          </a:prstGeom>
          <a:ln w="28575">
            <a:solidFill>
              <a:schemeClr val="accent1"/>
            </a:solidFill>
          </a:ln>
        </p:spPr>
        <p:txBody>
          <a:bodyPr anchor="ctr"/>
          <a:lstStyle>
            <a:lvl1pPr algn="ctr">
              <a:defRPr b="1"/>
            </a:lvl1pPr>
          </a:lstStyle>
          <a:p>
            <a:pPr lvl="0"/>
            <a:r>
              <a:rPr lang="en-US"/>
              <a:t>2</a:t>
            </a:r>
          </a:p>
        </p:txBody>
      </p:sp>
      <p:sp>
        <p:nvSpPr>
          <p:cNvPr id="7" name="Text Placeholder 14">
            <a:extLst>
              <a:ext uri="{FF2B5EF4-FFF2-40B4-BE49-F238E27FC236}">
                <a16:creationId xmlns:a16="http://schemas.microsoft.com/office/drawing/2014/main" id="{E723CF3E-0D2A-981D-A2E9-6E0A0309566E}"/>
              </a:ext>
            </a:extLst>
          </p:cNvPr>
          <p:cNvSpPr>
            <a:spLocks noGrp="1"/>
          </p:cNvSpPr>
          <p:nvPr>
            <p:ph type="body" sz="quarter" idx="27" hasCustomPrompt="1"/>
          </p:nvPr>
        </p:nvSpPr>
        <p:spPr>
          <a:xfrm>
            <a:off x="306970" y="3005204"/>
            <a:ext cx="457200" cy="457200"/>
          </a:xfrm>
          <a:prstGeom prst="ellipse">
            <a:avLst/>
          </a:prstGeom>
          <a:ln w="28575">
            <a:solidFill>
              <a:schemeClr val="accent1"/>
            </a:solidFill>
          </a:ln>
        </p:spPr>
        <p:txBody>
          <a:bodyPr anchor="ctr"/>
          <a:lstStyle>
            <a:lvl1pPr algn="ctr">
              <a:defRPr b="1"/>
            </a:lvl1pPr>
          </a:lstStyle>
          <a:p>
            <a:pPr lvl="0"/>
            <a:r>
              <a:rPr lang="en-US"/>
              <a:t>3</a:t>
            </a:r>
          </a:p>
        </p:txBody>
      </p:sp>
      <p:sp>
        <p:nvSpPr>
          <p:cNvPr id="8" name="Text Placeholder 14">
            <a:extLst>
              <a:ext uri="{FF2B5EF4-FFF2-40B4-BE49-F238E27FC236}">
                <a16:creationId xmlns:a16="http://schemas.microsoft.com/office/drawing/2014/main" id="{F1F84435-51D8-8B64-81CD-9F1F2AE87D84}"/>
              </a:ext>
            </a:extLst>
          </p:cNvPr>
          <p:cNvSpPr>
            <a:spLocks noGrp="1"/>
          </p:cNvSpPr>
          <p:nvPr>
            <p:ph type="body" sz="quarter" idx="28" hasCustomPrompt="1"/>
          </p:nvPr>
        </p:nvSpPr>
        <p:spPr>
          <a:xfrm>
            <a:off x="306970" y="3779521"/>
            <a:ext cx="457200" cy="457200"/>
          </a:xfrm>
          <a:prstGeom prst="ellipse">
            <a:avLst/>
          </a:prstGeom>
          <a:ln w="28575">
            <a:solidFill>
              <a:schemeClr val="accent1"/>
            </a:solidFill>
          </a:ln>
        </p:spPr>
        <p:txBody>
          <a:bodyPr anchor="ctr"/>
          <a:lstStyle>
            <a:lvl1pPr algn="ctr">
              <a:defRPr b="1"/>
            </a:lvl1pPr>
          </a:lstStyle>
          <a:p>
            <a:pPr lvl="0"/>
            <a:r>
              <a:rPr lang="en-US"/>
              <a:t>4</a:t>
            </a:r>
          </a:p>
        </p:txBody>
      </p:sp>
      <p:sp>
        <p:nvSpPr>
          <p:cNvPr id="9" name="Text Placeholder 14">
            <a:extLst>
              <a:ext uri="{FF2B5EF4-FFF2-40B4-BE49-F238E27FC236}">
                <a16:creationId xmlns:a16="http://schemas.microsoft.com/office/drawing/2014/main" id="{2B43AACD-FCC2-13B8-3B0A-4CAF182B75FD}"/>
              </a:ext>
            </a:extLst>
          </p:cNvPr>
          <p:cNvSpPr>
            <a:spLocks noGrp="1"/>
          </p:cNvSpPr>
          <p:nvPr>
            <p:ph type="body" sz="quarter" idx="29" hasCustomPrompt="1"/>
          </p:nvPr>
        </p:nvSpPr>
        <p:spPr>
          <a:xfrm>
            <a:off x="306970" y="4559729"/>
            <a:ext cx="457200" cy="457200"/>
          </a:xfrm>
          <a:prstGeom prst="ellipse">
            <a:avLst/>
          </a:prstGeom>
          <a:ln w="28575">
            <a:solidFill>
              <a:schemeClr val="accent1"/>
            </a:solidFill>
          </a:ln>
        </p:spPr>
        <p:txBody>
          <a:bodyPr anchor="ctr"/>
          <a:lstStyle>
            <a:lvl1pPr algn="ctr">
              <a:defRPr b="1"/>
            </a:lvl1pPr>
          </a:lstStyle>
          <a:p>
            <a:pPr lvl="0"/>
            <a:r>
              <a:rPr lang="en-US"/>
              <a:t>5</a:t>
            </a:r>
          </a:p>
        </p:txBody>
      </p:sp>
      <p:sp>
        <p:nvSpPr>
          <p:cNvPr id="10" name="Text Placeholder 14">
            <a:extLst>
              <a:ext uri="{FF2B5EF4-FFF2-40B4-BE49-F238E27FC236}">
                <a16:creationId xmlns:a16="http://schemas.microsoft.com/office/drawing/2014/main" id="{B91B28A8-A77C-EB02-F16B-0CDE926FF905}"/>
              </a:ext>
            </a:extLst>
          </p:cNvPr>
          <p:cNvSpPr>
            <a:spLocks noGrp="1"/>
          </p:cNvSpPr>
          <p:nvPr>
            <p:ph type="body" sz="quarter" idx="30" hasCustomPrompt="1"/>
          </p:nvPr>
        </p:nvSpPr>
        <p:spPr>
          <a:xfrm>
            <a:off x="306970" y="5334001"/>
            <a:ext cx="457200" cy="457200"/>
          </a:xfrm>
          <a:prstGeom prst="ellipse">
            <a:avLst/>
          </a:prstGeom>
          <a:ln w="28575">
            <a:solidFill>
              <a:schemeClr val="accent1"/>
            </a:solidFill>
          </a:ln>
        </p:spPr>
        <p:txBody>
          <a:bodyPr anchor="ctr"/>
          <a:lstStyle>
            <a:lvl1pPr algn="ctr">
              <a:defRPr b="1"/>
            </a:lvl1pPr>
          </a:lstStyle>
          <a:p>
            <a:pPr lvl="0"/>
            <a:r>
              <a:rPr lang="en-US"/>
              <a:t>6</a:t>
            </a:r>
          </a:p>
        </p:txBody>
      </p:sp>
    </p:spTree>
    <p:extLst>
      <p:ext uri="{BB962C8B-B14F-4D97-AF65-F5344CB8AC3E}">
        <p14:creationId xmlns:p14="http://schemas.microsoft.com/office/powerpoint/2010/main" val="4202005678"/>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9A310EF-C2FE-3C84-E984-024A7BB868C3}"/>
              </a:ext>
            </a:extLst>
          </p:cNvPr>
          <p:cNvGraphicFramePr>
            <a:graphicFrameLocks noChangeAspect="1"/>
          </p:cNvGraphicFramePr>
          <p:nvPr userDrawn="1">
            <p:custDataLst>
              <p:tags r:id="rId1"/>
            </p:custDataLst>
            <p:extLst>
              <p:ext uri="{D42A27DB-BD31-4B8C-83A1-F6EECF244321}">
                <p14:modId xmlns:p14="http://schemas.microsoft.com/office/powerpoint/2010/main" val="1864726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3" name="think-cell data - do not delete" hidden="1">
                        <a:extLst>
                          <a:ext uri="{FF2B5EF4-FFF2-40B4-BE49-F238E27FC236}">
                            <a16:creationId xmlns:a16="http://schemas.microsoft.com/office/drawing/2014/main" id="{59A310EF-C2FE-3C84-E984-024A7BB868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521711-3A75-3743-A297-695587AC5445}"/>
              </a:ext>
            </a:extLst>
          </p:cNvPr>
          <p:cNvSpPr>
            <a:spLocks noGrp="1"/>
          </p:cNvSpPr>
          <p:nvPr>
            <p:ph type="body" sz="quarter" idx="11" hasCustomPrompt="1"/>
          </p:nvPr>
        </p:nvSpPr>
        <p:spPr>
          <a:xfrm>
            <a:off x="946926" y="1447801"/>
            <a:ext cx="7816074"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Agenda Item</a:t>
            </a:r>
          </a:p>
        </p:txBody>
      </p:sp>
      <p:sp>
        <p:nvSpPr>
          <p:cNvPr id="51" name="Text Placeholder 4">
            <a:extLst>
              <a:ext uri="{FF2B5EF4-FFF2-40B4-BE49-F238E27FC236}">
                <a16:creationId xmlns:a16="http://schemas.microsoft.com/office/drawing/2014/main" id="{43471984-396C-4449-B263-A239F25446FF}"/>
              </a:ext>
            </a:extLst>
          </p:cNvPr>
          <p:cNvSpPr>
            <a:spLocks noGrp="1"/>
          </p:cNvSpPr>
          <p:nvPr>
            <p:ph type="body" sz="quarter" idx="12" hasCustomPrompt="1"/>
          </p:nvPr>
        </p:nvSpPr>
        <p:spPr>
          <a:xfrm>
            <a:off x="946926" y="2225041"/>
            <a:ext cx="7816074"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Agenda Item</a:t>
            </a:r>
          </a:p>
        </p:txBody>
      </p:sp>
      <p:sp>
        <p:nvSpPr>
          <p:cNvPr id="52" name="Text Placeholder 4">
            <a:extLst>
              <a:ext uri="{FF2B5EF4-FFF2-40B4-BE49-F238E27FC236}">
                <a16:creationId xmlns:a16="http://schemas.microsoft.com/office/drawing/2014/main" id="{29C136D0-E494-E24F-B90A-7042198101CB}"/>
              </a:ext>
            </a:extLst>
          </p:cNvPr>
          <p:cNvSpPr>
            <a:spLocks noGrp="1"/>
          </p:cNvSpPr>
          <p:nvPr>
            <p:ph type="body" sz="quarter" idx="13" hasCustomPrompt="1"/>
          </p:nvPr>
        </p:nvSpPr>
        <p:spPr>
          <a:xfrm>
            <a:off x="946926" y="3002281"/>
            <a:ext cx="7816074"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Agenda Item</a:t>
            </a:r>
          </a:p>
        </p:txBody>
      </p:sp>
      <p:sp>
        <p:nvSpPr>
          <p:cNvPr id="53" name="Text Placeholder 4">
            <a:extLst>
              <a:ext uri="{FF2B5EF4-FFF2-40B4-BE49-F238E27FC236}">
                <a16:creationId xmlns:a16="http://schemas.microsoft.com/office/drawing/2014/main" id="{DEDEC461-7391-6640-B021-6187D7670643}"/>
              </a:ext>
            </a:extLst>
          </p:cNvPr>
          <p:cNvSpPr>
            <a:spLocks noGrp="1"/>
          </p:cNvSpPr>
          <p:nvPr>
            <p:ph type="body" sz="quarter" idx="14" hasCustomPrompt="1"/>
          </p:nvPr>
        </p:nvSpPr>
        <p:spPr>
          <a:xfrm>
            <a:off x="946926" y="3779521"/>
            <a:ext cx="7816074"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Agenda Item</a:t>
            </a:r>
          </a:p>
        </p:txBody>
      </p:sp>
      <p:sp>
        <p:nvSpPr>
          <p:cNvPr id="54" name="Text Placeholder 4">
            <a:extLst>
              <a:ext uri="{FF2B5EF4-FFF2-40B4-BE49-F238E27FC236}">
                <a16:creationId xmlns:a16="http://schemas.microsoft.com/office/drawing/2014/main" id="{F8385385-0CF8-E547-BF23-9F5C3BBF97B5}"/>
              </a:ext>
            </a:extLst>
          </p:cNvPr>
          <p:cNvSpPr>
            <a:spLocks noGrp="1"/>
          </p:cNvSpPr>
          <p:nvPr>
            <p:ph type="body" sz="quarter" idx="15" hasCustomPrompt="1"/>
          </p:nvPr>
        </p:nvSpPr>
        <p:spPr>
          <a:xfrm>
            <a:off x="946926" y="4556761"/>
            <a:ext cx="7816074"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Agenda Item</a:t>
            </a:r>
          </a:p>
        </p:txBody>
      </p:sp>
      <p:sp>
        <p:nvSpPr>
          <p:cNvPr id="55" name="Text Placeholder 4">
            <a:extLst>
              <a:ext uri="{FF2B5EF4-FFF2-40B4-BE49-F238E27FC236}">
                <a16:creationId xmlns:a16="http://schemas.microsoft.com/office/drawing/2014/main" id="{BEDA5E1C-B35C-5A4A-8F36-A5FCCE899A45}"/>
              </a:ext>
            </a:extLst>
          </p:cNvPr>
          <p:cNvSpPr>
            <a:spLocks noGrp="1"/>
          </p:cNvSpPr>
          <p:nvPr>
            <p:ph type="body" sz="quarter" idx="16" hasCustomPrompt="1"/>
          </p:nvPr>
        </p:nvSpPr>
        <p:spPr>
          <a:xfrm>
            <a:off x="946926" y="5334001"/>
            <a:ext cx="7816074"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Agenda Item</a:t>
            </a:r>
          </a:p>
        </p:txBody>
      </p:sp>
      <p:sp>
        <p:nvSpPr>
          <p:cNvPr id="2" name="Title 1"/>
          <p:cNvSpPr>
            <a:spLocks noGrp="1"/>
          </p:cNvSpPr>
          <p:nvPr>
            <p:ph type="title" hasCustomPrompt="1"/>
          </p:nvPr>
        </p:nvSpPr>
        <p:spPr>
          <a:xfrm>
            <a:off x="355599" y="382589"/>
            <a:ext cx="11125197" cy="350837"/>
          </a:xfrm>
          <a:prstGeom prst="rect">
            <a:avLst/>
          </a:prstGeom>
        </p:spPr>
        <p:txBody>
          <a:bodyPr vert="horz" anchor="t"/>
          <a:lstStyle>
            <a:lvl1pPr>
              <a:defRPr>
                <a:latin typeface="+mn-lt"/>
                <a:cs typeface="Arial" panose="020B0604020202020204" pitchFamily="34" charset="0"/>
              </a:defRPr>
            </a:lvl1pPr>
          </a:lstStyle>
          <a:p>
            <a:r>
              <a:rPr lang="en-US" b="1"/>
              <a:t>Title (try to keep this to one line)</a:t>
            </a:r>
            <a:endParaRPr lang="en-US"/>
          </a:p>
        </p:txBody>
      </p:sp>
      <p:sp>
        <p:nvSpPr>
          <p:cNvPr id="27" name="Text Placeholder 3"/>
          <p:cNvSpPr>
            <a:spLocks noGrp="1"/>
          </p:cNvSpPr>
          <p:nvPr>
            <p:ph type="body" sz="quarter" idx="17" hasCustomPrompt="1"/>
          </p:nvPr>
        </p:nvSpPr>
        <p:spPr>
          <a:xfrm>
            <a:off x="355599" y="760265"/>
            <a:ext cx="11125197"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cxnSp>
        <p:nvCxnSpPr>
          <p:cNvPr id="3" name="Straight Connector 2">
            <a:extLst>
              <a:ext uri="{FF2B5EF4-FFF2-40B4-BE49-F238E27FC236}">
                <a16:creationId xmlns:a16="http://schemas.microsoft.com/office/drawing/2014/main" id="{2A96CF4F-66B1-793F-93C9-5D2B1F04F39D}"/>
              </a:ext>
            </a:extLst>
          </p:cNvPr>
          <p:cNvCxnSpPr/>
          <p:nvPr userDrawn="1"/>
        </p:nvCxnSpPr>
        <p:spPr>
          <a:xfrm>
            <a:off x="8940800" y="1447800"/>
            <a:ext cx="254000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 Placeholder 59">
            <a:extLst>
              <a:ext uri="{FF2B5EF4-FFF2-40B4-BE49-F238E27FC236}">
                <a16:creationId xmlns:a16="http://schemas.microsoft.com/office/drawing/2014/main" id="{EC3438A2-F2C6-9EE7-6BD4-7385D98A4EF1}"/>
              </a:ext>
            </a:extLst>
          </p:cNvPr>
          <p:cNvSpPr>
            <a:spLocks noGrp="1"/>
          </p:cNvSpPr>
          <p:nvPr>
            <p:ph type="body" sz="quarter" idx="18" hasCustomPrompt="1"/>
          </p:nvPr>
        </p:nvSpPr>
        <p:spPr>
          <a:xfrm>
            <a:off x="8940800" y="1234440"/>
            <a:ext cx="2540000" cy="213360"/>
          </a:xfrm>
          <a:prstGeom prst="rect">
            <a:avLst/>
          </a:prstGeom>
          <a:effectLst/>
        </p:spPr>
        <p:txBody>
          <a:bodyPr lIns="0" tIns="0" rIns="0" bIns="0" anchor="ctr" anchorCtr="0">
            <a:normAutofit/>
          </a:bodyPr>
          <a:lstStyle>
            <a:lvl1pPr marL="0" indent="0">
              <a:buNone/>
              <a:defRPr sz="1000" b="1" i="0" cap="none" spc="0">
                <a:ln w="0"/>
                <a:solidFill>
                  <a:schemeClr val="bg1">
                    <a:lumMod val="65000"/>
                  </a:schemeClr>
                </a:solidFill>
                <a:effectLst>
                  <a:outerShdw blurRad="38100" dist="19050" dir="2700000" algn="tl" rotWithShape="0">
                    <a:schemeClr val="dk1">
                      <a:alpha val="40000"/>
                    </a:schemeClr>
                  </a:outerShdw>
                </a:effectLst>
                <a:latin typeface="+mn-lt"/>
                <a:cs typeface="Arial" panose="020B0604020202020204" pitchFamily="34" charset="0"/>
              </a:defRPr>
            </a:lvl1pPr>
          </a:lstStyle>
          <a:p>
            <a:pPr lvl="0"/>
            <a:r>
              <a:rPr lang="en-US"/>
              <a:t>TIME ALLOTMENT</a:t>
            </a:r>
          </a:p>
        </p:txBody>
      </p:sp>
      <p:sp>
        <p:nvSpPr>
          <p:cNvPr id="7" name="Text Placeholder 4">
            <a:extLst>
              <a:ext uri="{FF2B5EF4-FFF2-40B4-BE49-F238E27FC236}">
                <a16:creationId xmlns:a16="http://schemas.microsoft.com/office/drawing/2014/main" id="{77E29033-55FA-F8D4-7CAC-E581F425DB5F}"/>
              </a:ext>
            </a:extLst>
          </p:cNvPr>
          <p:cNvSpPr>
            <a:spLocks noGrp="1"/>
          </p:cNvSpPr>
          <p:nvPr>
            <p:ph type="body" sz="quarter" idx="19" hasCustomPrompt="1"/>
          </p:nvPr>
        </p:nvSpPr>
        <p:spPr>
          <a:xfrm>
            <a:off x="8940800" y="1447801"/>
            <a:ext cx="2540000" cy="473149"/>
          </a:xfrm>
          <a:prstGeom prst="rect">
            <a:avLst/>
          </a:prstGeom>
        </p:spPr>
        <p:txBody>
          <a:bodyPr wrap="square" lIns="0" tIns="0" rIns="0" bIns="0" anchor="ctr" anchorCtr="1">
            <a:normAutofit/>
          </a:bodyPr>
          <a:lstStyle>
            <a:lvl1pPr marL="0" indent="0">
              <a:buNone/>
              <a:defRPr sz="1400" b="0" i="1">
                <a:solidFill>
                  <a:schemeClr val="bg1">
                    <a:lumMod val="65000"/>
                  </a:schemeClr>
                </a:solidFill>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Time</a:t>
            </a:r>
          </a:p>
        </p:txBody>
      </p:sp>
      <p:sp>
        <p:nvSpPr>
          <p:cNvPr id="8" name="Text Placeholder 4">
            <a:extLst>
              <a:ext uri="{FF2B5EF4-FFF2-40B4-BE49-F238E27FC236}">
                <a16:creationId xmlns:a16="http://schemas.microsoft.com/office/drawing/2014/main" id="{64DC3EDC-6B98-7BE2-810B-85CB9624951A}"/>
              </a:ext>
            </a:extLst>
          </p:cNvPr>
          <p:cNvSpPr>
            <a:spLocks noGrp="1"/>
          </p:cNvSpPr>
          <p:nvPr>
            <p:ph type="body" sz="quarter" idx="20" hasCustomPrompt="1"/>
          </p:nvPr>
        </p:nvSpPr>
        <p:spPr>
          <a:xfrm>
            <a:off x="8940800" y="2225041"/>
            <a:ext cx="2540000" cy="473149"/>
          </a:xfrm>
          <a:prstGeom prst="rect">
            <a:avLst/>
          </a:prstGeom>
        </p:spPr>
        <p:txBody>
          <a:bodyPr wrap="square" lIns="0" tIns="0" rIns="0" bIns="0" anchor="ctr" anchorCtr="1">
            <a:normAutofit/>
          </a:bodyPr>
          <a:lstStyle>
            <a:lvl1pPr marL="0" indent="0">
              <a:buNone/>
              <a:defRPr sz="1400" b="0" i="1">
                <a:solidFill>
                  <a:schemeClr val="bg1">
                    <a:lumMod val="65000"/>
                  </a:schemeClr>
                </a:solidFill>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Time</a:t>
            </a:r>
          </a:p>
        </p:txBody>
      </p:sp>
      <p:sp>
        <p:nvSpPr>
          <p:cNvPr id="9" name="Text Placeholder 4">
            <a:extLst>
              <a:ext uri="{FF2B5EF4-FFF2-40B4-BE49-F238E27FC236}">
                <a16:creationId xmlns:a16="http://schemas.microsoft.com/office/drawing/2014/main" id="{12776D41-C7B4-F445-6905-EFC314945F97}"/>
              </a:ext>
            </a:extLst>
          </p:cNvPr>
          <p:cNvSpPr>
            <a:spLocks noGrp="1"/>
          </p:cNvSpPr>
          <p:nvPr>
            <p:ph type="body" sz="quarter" idx="21" hasCustomPrompt="1"/>
          </p:nvPr>
        </p:nvSpPr>
        <p:spPr>
          <a:xfrm>
            <a:off x="8940800" y="3002281"/>
            <a:ext cx="2540000" cy="473149"/>
          </a:xfrm>
          <a:prstGeom prst="rect">
            <a:avLst/>
          </a:prstGeom>
        </p:spPr>
        <p:txBody>
          <a:bodyPr wrap="square" lIns="0" tIns="0" rIns="0" bIns="0" anchor="ctr" anchorCtr="1">
            <a:normAutofit/>
          </a:bodyPr>
          <a:lstStyle>
            <a:lvl1pPr marL="0" indent="0">
              <a:buNone/>
              <a:defRPr sz="1400" b="0" i="1">
                <a:solidFill>
                  <a:schemeClr val="bg1">
                    <a:lumMod val="65000"/>
                  </a:schemeClr>
                </a:solidFill>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Time</a:t>
            </a:r>
          </a:p>
        </p:txBody>
      </p:sp>
      <p:sp>
        <p:nvSpPr>
          <p:cNvPr id="10" name="Text Placeholder 4">
            <a:extLst>
              <a:ext uri="{FF2B5EF4-FFF2-40B4-BE49-F238E27FC236}">
                <a16:creationId xmlns:a16="http://schemas.microsoft.com/office/drawing/2014/main" id="{D9A403AB-16C5-9F96-4517-DFD16AFF247B}"/>
              </a:ext>
            </a:extLst>
          </p:cNvPr>
          <p:cNvSpPr>
            <a:spLocks noGrp="1"/>
          </p:cNvSpPr>
          <p:nvPr>
            <p:ph type="body" sz="quarter" idx="22" hasCustomPrompt="1"/>
          </p:nvPr>
        </p:nvSpPr>
        <p:spPr>
          <a:xfrm>
            <a:off x="8940800" y="3779521"/>
            <a:ext cx="2540000" cy="473149"/>
          </a:xfrm>
          <a:prstGeom prst="rect">
            <a:avLst/>
          </a:prstGeom>
        </p:spPr>
        <p:txBody>
          <a:bodyPr wrap="square" lIns="0" tIns="0" rIns="0" bIns="0" anchor="ctr" anchorCtr="1">
            <a:normAutofit/>
          </a:bodyPr>
          <a:lstStyle>
            <a:lvl1pPr marL="0" indent="0">
              <a:buNone/>
              <a:defRPr sz="1400" b="0" i="1">
                <a:solidFill>
                  <a:schemeClr val="bg1">
                    <a:lumMod val="65000"/>
                  </a:schemeClr>
                </a:solidFill>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Time</a:t>
            </a:r>
          </a:p>
        </p:txBody>
      </p:sp>
      <p:sp>
        <p:nvSpPr>
          <p:cNvPr id="11" name="Text Placeholder 4">
            <a:extLst>
              <a:ext uri="{FF2B5EF4-FFF2-40B4-BE49-F238E27FC236}">
                <a16:creationId xmlns:a16="http://schemas.microsoft.com/office/drawing/2014/main" id="{864C33E3-D31D-AB10-CF59-6DD5F9F36703}"/>
              </a:ext>
            </a:extLst>
          </p:cNvPr>
          <p:cNvSpPr>
            <a:spLocks noGrp="1"/>
          </p:cNvSpPr>
          <p:nvPr>
            <p:ph type="body" sz="quarter" idx="23" hasCustomPrompt="1"/>
          </p:nvPr>
        </p:nvSpPr>
        <p:spPr>
          <a:xfrm>
            <a:off x="8940800" y="4556761"/>
            <a:ext cx="2540000" cy="473149"/>
          </a:xfrm>
          <a:prstGeom prst="rect">
            <a:avLst/>
          </a:prstGeom>
        </p:spPr>
        <p:txBody>
          <a:bodyPr wrap="square" lIns="0" tIns="0" rIns="0" bIns="0" anchor="ctr" anchorCtr="1">
            <a:normAutofit/>
          </a:bodyPr>
          <a:lstStyle>
            <a:lvl1pPr marL="0" indent="0">
              <a:buNone/>
              <a:defRPr sz="1400" b="0" i="1">
                <a:solidFill>
                  <a:schemeClr val="bg1">
                    <a:lumMod val="65000"/>
                  </a:schemeClr>
                </a:solidFill>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Time</a:t>
            </a:r>
          </a:p>
        </p:txBody>
      </p:sp>
      <p:sp>
        <p:nvSpPr>
          <p:cNvPr id="12" name="Text Placeholder 4">
            <a:extLst>
              <a:ext uri="{FF2B5EF4-FFF2-40B4-BE49-F238E27FC236}">
                <a16:creationId xmlns:a16="http://schemas.microsoft.com/office/drawing/2014/main" id="{A78B1B81-4C51-73B7-6A12-9D2E4D26C6AD}"/>
              </a:ext>
            </a:extLst>
          </p:cNvPr>
          <p:cNvSpPr>
            <a:spLocks noGrp="1"/>
          </p:cNvSpPr>
          <p:nvPr>
            <p:ph type="body" sz="quarter" idx="24" hasCustomPrompt="1"/>
          </p:nvPr>
        </p:nvSpPr>
        <p:spPr>
          <a:xfrm>
            <a:off x="8940800" y="5334001"/>
            <a:ext cx="2540000" cy="473149"/>
          </a:xfrm>
          <a:prstGeom prst="rect">
            <a:avLst/>
          </a:prstGeom>
        </p:spPr>
        <p:txBody>
          <a:bodyPr wrap="square" lIns="0" tIns="0" rIns="0" bIns="0" anchor="ctr" anchorCtr="1">
            <a:normAutofit/>
          </a:bodyPr>
          <a:lstStyle>
            <a:lvl1pPr marL="0" indent="0">
              <a:buNone/>
              <a:defRPr sz="1400" b="0" i="1">
                <a:solidFill>
                  <a:schemeClr val="bg1">
                    <a:lumMod val="65000"/>
                  </a:schemeClr>
                </a:solidFill>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Time</a:t>
            </a:r>
          </a:p>
        </p:txBody>
      </p:sp>
      <p:sp>
        <p:nvSpPr>
          <p:cNvPr id="15" name="Text Placeholder 14">
            <a:extLst>
              <a:ext uri="{FF2B5EF4-FFF2-40B4-BE49-F238E27FC236}">
                <a16:creationId xmlns:a16="http://schemas.microsoft.com/office/drawing/2014/main" id="{CF56D9C7-ED09-2E91-3860-8ABE6497B1AB}"/>
              </a:ext>
            </a:extLst>
          </p:cNvPr>
          <p:cNvSpPr>
            <a:spLocks noGrp="1"/>
          </p:cNvSpPr>
          <p:nvPr>
            <p:ph type="body" sz="quarter" idx="25" hasCustomPrompt="1"/>
          </p:nvPr>
        </p:nvSpPr>
        <p:spPr>
          <a:xfrm>
            <a:off x="306970" y="1449240"/>
            <a:ext cx="457200" cy="457200"/>
          </a:xfrm>
          <a:prstGeom prst="ellipse">
            <a:avLst/>
          </a:prstGeom>
          <a:ln w="28575">
            <a:solidFill>
              <a:schemeClr val="accent1"/>
            </a:solidFill>
          </a:ln>
        </p:spPr>
        <p:txBody>
          <a:bodyPr anchor="ctr"/>
          <a:lstStyle>
            <a:lvl1pPr algn="ctr">
              <a:defRPr b="1"/>
            </a:lvl1pPr>
          </a:lstStyle>
          <a:p>
            <a:pPr lvl="0"/>
            <a:r>
              <a:rPr lang="en-US"/>
              <a:t>1</a:t>
            </a:r>
          </a:p>
        </p:txBody>
      </p:sp>
      <p:sp>
        <p:nvSpPr>
          <p:cNvPr id="16" name="Text Placeholder 14">
            <a:extLst>
              <a:ext uri="{FF2B5EF4-FFF2-40B4-BE49-F238E27FC236}">
                <a16:creationId xmlns:a16="http://schemas.microsoft.com/office/drawing/2014/main" id="{F16B4AD0-1431-C34B-72D3-3B6602E69000}"/>
              </a:ext>
            </a:extLst>
          </p:cNvPr>
          <p:cNvSpPr>
            <a:spLocks noGrp="1"/>
          </p:cNvSpPr>
          <p:nvPr>
            <p:ph type="body" sz="quarter" idx="26" hasCustomPrompt="1"/>
          </p:nvPr>
        </p:nvSpPr>
        <p:spPr>
          <a:xfrm>
            <a:off x="306970" y="2225041"/>
            <a:ext cx="457200" cy="457200"/>
          </a:xfrm>
          <a:prstGeom prst="ellipse">
            <a:avLst/>
          </a:prstGeom>
          <a:ln w="28575">
            <a:solidFill>
              <a:schemeClr val="accent1"/>
            </a:solidFill>
          </a:ln>
        </p:spPr>
        <p:txBody>
          <a:bodyPr anchor="ctr"/>
          <a:lstStyle>
            <a:lvl1pPr algn="ctr">
              <a:defRPr b="1"/>
            </a:lvl1pPr>
          </a:lstStyle>
          <a:p>
            <a:pPr lvl="0"/>
            <a:r>
              <a:rPr lang="en-US"/>
              <a:t>2</a:t>
            </a:r>
          </a:p>
        </p:txBody>
      </p:sp>
      <p:sp>
        <p:nvSpPr>
          <p:cNvPr id="17" name="Text Placeholder 14">
            <a:extLst>
              <a:ext uri="{FF2B5EF4-FFF2-40B4-BE49-F238E27FC236}">
                <a16:creationId xmlns:a16="http://schemas.microsoft.com/office/drawing/2014/main" id="{C1623ABC-8C69-D9C6-6173-D68246FBA57B}"/>
              </a:ext>
            </a:extLst>
          </p:cNvPr>
          <p:cNvSpPr>
            <a:spLocks noGrp="1"/>
          </p:cNvSpPr>
          <p:nvPr>
            <p:ph type="body" sz="quarter" idx="27" hasCustomPrompt="1"/>
          </p:nvPr>
        </p:nvSpPr>
        <p:spPr>
          <a:xfrm>
            <a:off x="306970" y="3005204"/>
            <a:ext cx="457200" cy="457200"/>
          </a:xfrm>
          <a:prstGeom prst="ellipse">
            <a:avLst/>
          </a:prstGeom>
          <a:ln w="28575">
            <a:solidFill>
              <a:schemeClr val="accent1"/>
            </a:solidFill>
          </a:ln>
        </p:spPr>
        <p:txBody>
          <a:bodyPr anchor="ctr"/>
          <a:lstStyle>
            <a:lvl1pPr algn="ctr">
              <a:defRPr b="1"/>
            </a:lvl1pPr>
          </a:lstStyle>
          <a:p>
            <a:pPr lvl="0"/>
            <a:r>
              <a:rPr lang="en-US"/>
              <a:t>3</a:t>
            </a:r>
          </a:p>
        </p:txBody>
      </p:sp>
      <p:sp>
        <p:nvSpPr>
          <p:cNvPr id="18" name="Text Placeholder 14">
            <a:extLst>
              <a:ext uri="{FF2B5EF4-FFF2-40B4-BE49-F238E27FC236}">
                <a16:creationId xmlns:a16="http://schemas.microsoft.com/office/drawing/2014/main" id="{8C874930-6683-B8E5-71DE-4ED30E1EF298}"/>
              </a:ext>
            </a:extLst>
          </p:cNvPr>
          <p:cNvSpPr>
            <a:spLocks noGrp="1"/>
          </p:cNvSpPr>
          <p:nvPr>
            <p:ph type="body" sz="quarter" idx="28" hasCustomPrompt="1"/>
          </p:nvPr>
        </p:nvSpPr>
        <p:spPr>
          <a:xfrm>
            <a:off x="306970" y="3779521"/>
            <a:ext cx="457200" cy="457200"/>
          </a:xfrm>
          <a:prstGeom prst="ellipse">
            <a:avLst/>
          </a:prstGeom>
          <a:ln w="28575">
            <a:solidFill>
              <a:schemeClr val="accent1"/>
            </a:solidFill>
          </a:ln>
        </p:spPr>
        <p:txBody>
          <a:bodyPr anchor="ctr"/>
          <a:lstStyle>
            <a:lvl1pPr algn="ctr">
              <a:defRPr b="1"/>
            </a:lvl1pPr>
          </a:lstStyle>
          <a:p>
            <a:pPr lvl="0"/>
            <a:r>
              <a:rPr lang="en-US"/>
              <a:t>4</a:t>
            </a:r>
          </a:p>
        </p:txBody>
      </p:sp>
      <p:sp>
        <p:nvSpPr>
          <p:cNvPr id="19" name="Text Placeholder 14">
            <a:extLst>
              <a:ext uri="{FF2B5EF4-FFF2-40B4-BE49-F238E27FC236}">
                <a16:creationId xmlns:a16="http://schemas.microsoft.com/office/drawing/2014/main" id="{4F5108EA-ABE9-BB65-3C43-3D52AA4E9AB1}"/>
              </a:ext>
            </a:extLst>
          </p:cNvPr>
          <p:cNvSpPr>
            <a:spLocks noGrp="1"/>
          </p:cNvSpPr>
          <p:nvPr>
            <p:ph type="body" sz="quarter" idx="29" hasCustomPrompt="1"/>
          </p:nvPr>
        </p:nvSpPr>
        <p:spPr>
          <a:xfrm>
            <a:off x="306970" y="4559729"/>
            <a:ext cx="457200" cy="457200"/>
          </a:xfrm>
          <a:prstGeom prst="ellipse">
            <a:avLst/>
          </a:prstGeom>
          <a:ln w="28575">
            <a:solidFill>
              <a:schemeClr val="accent1"/>
            </a:solidFill>
          </a:ln>
        </p:spPr>
        <p:txBody>
          <a:bodyPr anchor="ctr"/>
          <a:lstStyle>
            <a:lvl1pPr algn="ctr">
              <a:defRPr b="1"/>
            </a:lvl1pPr>
          </a:lstStyle>
          <a:p>
            <a:pPr lvl="0"/>
            <a:r>
              <a:rPr lang="en-US"/>
              <a:t>5</a:t>
            </a:r>
          </a:p>
        </p:txBody>
      </p:sp>
      <p:sp>
        <p:nvSpPr>
          <p:cNvPr id="20" name="Text Placeholder 14">
            <a:extLst>
              <a:ext uri="{FF2B5EF4-FFF2-40B4-BE49-F238E27FC236}">
                <a16:creationId xmlns:a16="http://schemas.microsoft.com/office/drawing/2014/main" id="{66D93FEE-2090-0B6E-A34C-F38BAFEEBFA5}"/>
              </a:ext>
            </a:extLst>
          </p:cNvPr>
          <p:cNvSpPr>
            <a:spLocks noGrp="1"/>
          </p:cNvSpPr>
          <p:nvPr>
            <p:ph type="body" sz="quarter" idx="30" hasCustomPrompt="1"/>
          </p:nvPr>
        </p:nvSpPr>
        <p:spPr>
          <a:xfrm>
            <a:off x="306970" y="5334001"/>
            <a:ext cx="457200" cy="457200"/>
          </a:xfrm>
          <a:prstGeom prst="ellipse">
            <a:avLst/>
          </a:prstGeom>
          <a:ln w="28575">
            <a:solidFill>
              <a:schemeClr val="accent1"/>
            </a:solidFill>
          </a:ln>
        </p:spPr>
        <p:txBody>
          <a:bodyPr anchor="ctr"/>
          <a:lstStyle>
            <a:lvl1pPr algn="ctr">
              <a:defRPr b="1"/>
            </a:lvl1pPr>
          </a:lstStyle>
          <a:p>
            <a:pPr lvl="0"/>
            <a:r>
              <a:rPr lang="en-US"/>
              <a:t>6</a:t>
            </a:r>
          </a:p>
        </p:txBody>
      </p:sp>
    </p:spTree>
    <p:extLst>
      <p:ext uri="{BB962C8B-B14F-4D97-AF65-F5344CB8AC3E}">
        <p14:creationId xmlns:p14="http://schemas.microsoft.com/office/powerpoint/2010/main" val="5993030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9A310EF-C2FE-3C84-E984-024A7BB868C3}"/>
              </a:ext>
            </a:extLst>
          </p:cNvPr>
          <p:cNvGraphicFramePr>
            <a:graphicFrameLocks noChangeAspect="1"/>
          </p:cNvGraphicFramePr>
          <p:nvPr userDrawn="1">
            <p:custDataLst>
              <p:tags r:id="rId1"/>
            </p:custDataLst>
            <p:extLst>
              <p:ext uri="{D42A27DB-BD31-4B8C-83A1-F6EECF244321}">
                <p14:modId xmlns:p14="http://schemas.microsoft.com/office/powerpoint/2010/main" val="1864726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3" name="think-cell data - do not delete" hidden="1">
                        <a:extLst>
                          <a:ext uri="{FF2B5EF4-FFF2-40B4-BE49-F238E27FC236}">
                            <a16:creationId xmlns:a16="http://schemas.microsoft.com/office/drawing/2014/main" id="{59A310EF-C2FE-3C84-E984-024A7BB868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521711-3A75-3743-A297-695587AC5445}"/>
              </a:ext>
            </a:extLst>
          </p:cNvPr>
          <p:cNvSpPr>
            <a:spLocks noGrp="1"/>
          </p:cNvSpPr>
          <p:nvPr>
            <p:ph type="body" sz="quarter" idx="11" hasCustomPrompt="1"/>
          </p:nvPr>
        </p:nvSpPr>
        <p:spPr>
          <a:xfrm>
            <a:off x="946926" y="144780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Objective</a:t>
            </a:r>
          </a:p>
        </p:txBody>
      </p:sp>
      <p:sp>
        <p:nvSpPr>
          <p:cNvPr id="51" name="Text Placeholder 4">
            <a:extLst>
              <a:ext uri="{FF2B5EF4-FFF2-40B4-BE49-F238E27FC236}">
                <a16:creationId xmlns:a16="http://schemas.microsoft.com/office/drawing/2014/main" id="{43471984-396C-4449-B263-A239F25446FF}"/>
              </a:ext>
            </a:extLst>
          </p:cNvPr>
          <p:cNvSpPr>
            <a:spLocks noGrp="1"/>
          </p:cNvSpPr>
          <p:nvPr>
            <p:ph type="body" sz="quarter" idx="12" hasCustomPrompt="1"/>
          </p:nvPr>
        </p:nvSpPr>
        <p:spPr>
          <a:xfrm>
            <a:off x="946926" y="222504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Objective</a:t>
            </a:r>
          </a:p>
        </p:txBody>
      </p:sp>
      <p:sp>
        <p:nvSpPr>
          <p:cNvPr id="52" name="Text Placeholder 4">
            <a:extLst>
              <a:ext uri="{FF2B5EF4-FFF2-40B4-BE49-F238E27FC236}">
                <a16:creationId xmlns:a16="http://schemas.microsoft.com/office/drawing/2014/main" id="{29C136D0-E494-E24F-B90A-7042198101CB}"/>
              </a:ext>
            </a:extLst>
          </p:cNvPr>
          <p:cNvSpPr>
            <a:spLocks noGrp="1"/>
          </p:cNvSpPr>
          <p:nvPr>
            <p:ph type="body" sz="quarter" idx="13" hasCustomPrompt="1"/>
          </p:nvPr>
        </p:nvSpPr>
        <p:spPr>
          <a:xfrm>
            <a:off x="946926" y="300228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Objective</a:t>
            </a:r>
          </a:p>
        </p:txBody>
      </p:sp>
      <p:sp>
        <p:nvSpPr>
          <p:cNvPr id="53" name="Text Placeholder 4">
            <a:extLst>
              <a:ext uri="{FF2B5EF4-FFF2-40B4-BE49-F238E27FC236}">
                <a16:creationId xmlns:a16="http://schemas.microsoft.com/office/drawing/2014/main" id="{DEDEC461-7391-6640-B021-6187D7670643}"/>
              </a:ext>
            </a:extLst>
          </p:cNvPr>
          <p:cNvSpPr>
            <a:spLocks noGrp="1"/>
          </p:cNvSpPr>
          <p:nvPr>
            <p:ph type="body" sz="quarter" idx="14" hasCustomPrompt="1"/>
          </p:nvPr>
        </p:nvSpPr>
        <p:spPr>
          <a:xfrm>
            <a:off x="946926" y="377952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Objective</a:t>
            </a:r>
          </a:p>
        </p:txBody>
      </p:sp>
      <p:sp>
        <p:nvSpPr>
          <p:cNvPr id="54" name="Text Placeholder 4">
            <a:extLst>
              <a:ext uri="{FF2B5EF4-FFF2-40B4-BE49-F238E27FC236}">
                <a16:creationId xmlns:a16="http://schemas.microsoft.com/office/drawing/2014/main" id="{F8385385-0CF8-E547-BF23-9F5C3BBF97B5}"/>
              </a:ext>
            </a:extLst>
          </p:cNvPr>
          <p:cNvSpPr>
            <a:spLocks noGrp="1"/>
          </p:cNvSpPr>
          <p:nvPr>
            <p:ph type="body" sz="quarter" idx="15" hasCustomPrompt="1"/>
          </p:nvPr>
        </p:nvSpPr>
        <p:spPr>
          <a:xfrm>
            <a:off x="946926" y="455676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Objective</a:t>
            </a:r>
          </a:p>
        </p:txBody>
      </p:sp>
      <p:sp>
        <p:nvSpPr>
          <p:cNvPr id="55" name="Text Placeholder 4">
            <a:extLst>
              <a:ext uri="{FF2B5EF4-FFF2-40B4-BE49-F238E27FC236}">
                <a16:creationId xmlns:a16="http://schemas.microsoft.com/office/drawing/2014/main" id="{BEDA5E1C-B35C-5A4A-8F36-A5FCCE899A45}"/>
              </a:ext>
            </a:extLst>
          </p:cNvPr>
          <p:cNvSpPr>
            <a:spLocks noGrp="1"/>
          </p:cNvSpPr>
          <p:nvPr>
            <p:ph type="body" sz="quarter" idx="16" hasCustomPrompt="1"/>
          </p:nvPr>
        </p:nvSpPr>
        <p:spPr>
          <a:xfrm>
            <a:off x="946926" y="533400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Objective</a:t>
            </a:r>
          </a:p>
        </p:txBody>
      </p:sp>
      <p:sp>
        <p:nvSpPr>
          <p:cNvPr id="2" name="Title 1"/>
          <p:cNvSpPr>
            <a:spLocks noGrp="1"/>
          </p:cNvSpPr>
          <p:nvPr>
            <p:ph type="title" hasCustomPrompt="1"/>
          </p:nvPr>
        </p:nvSpPr>
        <p:spPr>
          <a:xfrm>
            <a:off x="355599" y="382589"/>
            <a:ext cx="11125197" cy="350837"/>
          </a:xfrm>
          <a:prstGeom prst="rect">
            <a:avLst/>
          </a:prstGeom>
        </p:spPr>
        <p:txBody>
          <a:bodyPr vert="horz" anchor="t"/>
          <a:lstStyle>
            <a:lvl1pPr>
              <a:defRPr>
                <a:latin typeface="+mn-lt"/>
                <a:cs typeface="Arial" panose="020B0604020202020204" pitchFamily="34" charset="0"/>
              </a:defRPr>
            </a:lvl1pPr>
          </a:lstStyle>
          <a:p>
            <a:r>
              <a:rPr lang="en-US" b="1"/>
              <a:t>Title (try to keep this to one line)</a:t>
            </a:r>
            <a:endParaRPr lang="en-US"/>
          </a:p>
        </p:txBody>
      </p:sp>
      <p:sp>
        <p:nvSpPr>
          <p:cNvPr id="27" name="Text Placeholder 3"/>
          <p:cNvSpPr>
            <a:spLocks noGrp="1"/>
          </p:cNvSpPr>
          <p:nvPr>
            <p:ph type="body" sz="quarter" idx="17" hasCustomPrompt="1"/>
          </p:nvPr>
        </p:nvSpPr>
        <p:spPr>
          <a:xfrm>
            <a:off x="355599" y="760265"/>
            <a:ext cx="11125197"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
        <p:nvSpPr>
          <p:cNvPr id="3" name="Text Placeholder 14">
            <a:extLst>
              <a:ext uri="{FF2B5EF4-FFF2-40B4-BE49-F238E27FC236}">
                <a16:creationId xmlns:a16="http://schemas.microsoft.com/office/drawing/2014/main" id="{20F30914-0214-8F21-65D3-5FDF73EDC241}"/>
              </a:ext>
            </a:extLst>
          </p:cNvPr>
          <p:cNvSpPr>
            <a:spLocks noGrp="1"/>
          </p:cNvSpPr>
          <p:nvPr>
            <p:ph type="body" sz="quarter" idx="25" hasCustomPrompt="1"/>
          </p:nvPr>
        </p:nvSpPr>
        <p:spPr>
          <a:xfrm>
            <a:off x="306970" y="1449240"/>
            <a:ext cx="457200" cy="457200"/>
          </a:xfrm>
          <a:prstGeom prst="ellipse">
            <a:avLst/>
          </a:prstGeom>
          <a:ln w="28575">
            <a:solidFill>
              <a:schemeClr val="accent1"/>
            </a:solidFill>
          </a:ln>
        </p:spPr>
        <p:txBody>
          <a:bodyPr anchor="ctr"/>
          <a:lstStyle>
            <a:lvl1pPr algn="ctr">
              <a:defRPr b="1"/>
            </a:lvl1pPr>
          </a:lstStyle>
          <a:p>
            <a:pPr lvl="0"/>
            <a:r>
              <a:rPr lang="en-US"/>
              <a:t>1</a:t>
            </a:r>
          </a:p>
        </p:txBody>
      </p:sp>
      <p:sp>
        <p:nvSpPr>
          <p:cNvPr id="6" name="Text Placeholder 14">
            <a:extLst>
              <a:ext uri="{FF2B5EF4-FFF2-40B4-BE49-F238E27FC236}">
                <a16:creationId xmlns:a16="http://schemas.microsoft.com/office/drawing/2014/main" id="{CFD74D53-2774-AEEC-4F4E-CEF3A5924367}"/>
              </a:ext>
            </a:extLst>
          </p:cNvPr>
          <p:cNvSpPr>
            <a:spLocks noGrp="1"/>
          </p:cNvSpPr>
          <p:nvPr>
            <p:ph type="body" sz="quarter" idx="26" hasCustomPrompt="1"/>
          </p:nvPr>
        </p:nvSpPr>
        <p:spPr>
          <a:xfrm>
            <a:off x="306970" y="2225041"/>
            <a:ext cx="457200" cy="457200"/>
          </a:xfrm>
          <a:prstGeom prst="ellipse">
            <a:avLst/>
          </a:prstGeom>
          <a:ln w="28575">
            <a:solidFill>
              <a:schemeClr val="accent1"/>
            </a:solidFill>
          </a:ln>
        </p:spPr>
        <p:txBody>
          <a:bodyPr anchor="ctr"/>
          <a:lstStyle>
            <a:lvl1pPr algn="ctr">
              <a:defRPr b="1"/>
            </a:lvl1pPr>
          </a:lstStyle>
          <a:p>
            <a:pPr lvl="0"/>
            <a:r>
              <a:rPr lang="en-US"/>
              <a:t>2</a:t>
            </a:r>
          </a:p>
        </p:txBody>
      </p:sp>
      <p:sp>
        <p:nvSpPr>
          <p:cNvPr id="7" name="Text Placeholder 14">
            <a:extLst>
              <a:ext uri="{FF2B5EF4-FFF2-40B4-BE49-F238E27FC236}">
                <a16:creationId xmlns:a16="http://schemas.microsoft.com/office/drawing/2014/main" id="{EDF0CEC3-6CFF-E813-D22D-E34D93087FFB}"/>
              </a:ext>
            </a:extLst>
          </p:cNvPr>
          <p:cNvSpPr>
            <a:spLocks noGrp="1"/>
          </p:cNvSpPr>
          <p:nvPr>
            <p:ph type="body" sz="quarter" idx="27" hasCustomPrompt="1"/>
          </p:nvPr>
        </p:nvSpPr>
        <p:spPr>
          <a:xfrm>
            <a:off x="306970" y="3005204"/>
            <a:ext cx="457200" cy="457200"/>
          </a:xfrm>
          <a:prstGeom prst="ellipse">
            <a:avLst/>
          </a:prstGeom>
          <a:ln w="28575">
            <a:solidFill>
              <a:schemeClr val="accent1"/>
            </a:solidFill>
          </a:ln>
        </p:spPr>
        <p:txBody>
          <a:bodyPr anchor="ctr"/>
          <a:lstStyle>
            <a:lvl1pPr algn="ctr">
              <a:defRPr b="1"/>
            </a:lvl1pPr>
          </a:lstStyle>
          <a:p>
            <a:pPr lvl="0"/>
            <a:r>
              <a:rPr lang="en-US"/>
              <a:t>3</a:t>
            </a:r>
          </a:p>
        </p:txBody>
      </p:sp>
      <p:sp>
        <p:nvSpPr>
          <p:cNvPr id="8" name="Text Placeholder 14">
            <a:extLst>
              <a:ext uri="{FF2B5EF4-FFF2-40B4-BE49-F238E27FC236}">
                <a16:creationId xmlns:a16="http://schemas.microsoft.com/office/drawing/2014/main" id="{7F3BA837-B8EB-E174-36E5-00824A5D56AE}"/>
              </a:ext>
            </a:extLst>
          </p:cNvPr>
          <p:cNvSpPr>
            <a:spLocks noGrp="1"/>
          </p:cNvSpPr>
          <p:nvPr>
            <p:ph type="body" sz="quarter" idx="28" hasCustomPrompt="1"/>
          </p:nvPr>
        </p:nvSpPr>
        <p:spPr>
          <a:xfrm>
            <a:off x="306970" y="3779521"/>
            <a:ext cx="457200" cy="457200"/>
          </a:xfrm>
          <a:prstGeom prst="ellipse">
            <a:avLst/>
          </a:prstGeom>
          <a:ln w="28575">
            <a:solidFill>
              <a:schemeClr val="accent1"/>
            </a:solidFill>
          </a:ln>
        </p:spPr>
        <p:txBody>
          <a:bodyPr anchor="ctr"/>
          <a:lstStyle>
            <a:lvl1pPr algn="ctr">
              <a:defRPr b="1"/>
            </a:lvl1pPr>
          </a:lstStyle>
          <a:p>
            <a:pPr lvl="0"/>
            <a:r>
              <a:rPr lang="en-US"/>
              <a:t>4</a:t>
            </a:r>
          </a:p>
        </p:txBody>
      </p:sp>
      <p:sp>
        <p:nvSpPr>
          <p:cNvPr id="9" name="Text Placeholder 14">
            <a:extLst>
              <a:ext uri="{FF2B5EF4-FFF2-40B4-BE49-F238E27FC236}">
                <a16:creationId xmlns:a16="http://schemas.microsoft.com/office/drawing/2014/main" id="{0DDFA5D6-8E29-6B28-EA73-2E000F44F5EC}"/>
              </a:ext>
            </a:extLst>
          </p:cNvPr>
          <p:cNvSpPr>
            <a:spLocks noGrp="1"/>
          </p:cNvSpPr>
          <p:nvPr>
            <p:ph type="body" sz="quarter" idx="29" hasCustomPrompt="1"/>
          </p:nvPr>
        </p:nvSpPr>
        <p:spPr>
          <a:xfrm>
            <a:off x="306970" y="4559729"/>
            <a:ext cx="457200" cy="457200"/>
          </a:xfrm>
          <a:prstGeom prst="ellipse">
            <a:avLst/>
          </a:prstGeom>
          <a:ln w="28575">
            <a:solidFill>
              <a:schemeClr val="accent1"/>
            </a:solidFill>
          </a:ln>
        </p:spPr>
        <p:txBody>
          <a:bodyPr anchor="ctr"/>
          <a:lstStyle>
            <a:lvl1pPr algn="ctr">
              <a:defRPr b="1"/>
            </a:lvl1pPr>
          </a:lstStyle>
          <a:p>
            <a:pPr lvl="0"/>
            <a:r>
              <a:rPr lang="en-US"/>
              <a:t>5</a:t>
            </a:r>
          </a:p>
        </p:txBody>
      </p:sp>
      <p:sp>
        <p:nvSpPr>
          <p:cNvPr id="10" name="Text Placeholder 14">
            <a:extLst>
              <a:ext uri="{FF2B5EF4-FFF2-40B4-BE49-F238E27FC236}">
                <a16:creationId xmlns:a16="http://schemas.microsoft.com/office/drawing/2014/main" id="{D0A4543F-AEA6-77D1-8C19-F4F4BA3BDB22}"/>
              </a:ext>
            </a:extLst>
          </p:cNvPr>
          <p:cNvSpPr>
            <a:spLocks noGrp="1"/>
          </p:cNvSpPr>
          <p:nvPr>
            <p:ph type="body" sz="quarter" idx="30" hasCustomPrompt="1"/>
          </p:nvPr>
        </p:nvSpPr>
        <p:spPr>
          <a:xfrm>
            <a:off x="306970" y="5334001"/>
            <a:ext cx="457200" cy="457200"/>
          </a:xfrm>
          <a:prstGeom prst="ellipse">
            <a:avLst/>
          </a:prstGeom>
          <a:ln w="28575">
            <a:solidFill>
              <a:schemeClr val="accent1"/>
            </a:solidFill>
          </a:ln>
        </p:spPr>
        <p:txBody>
          <a:bodyPr anchor="ctr"/>
          <a:lstStyle>
            <a:lvl1pPr algn="ctr">
              <a:defRPr b="1"/>
            </a:lvl1pPr>
          </a:lstStyle>
          <a:p>
            <a:pPr lvl="0"/>
            <a:r>
              <a:rPr lang="en-US"/>
              <a:t>6</a:t>
            </a:r>
          </a:p>
        </p:txBody>
      </p:sp>
    </p:spTree>
    <p:extLst>
      <p:ext uri="{BB962C8B-B14F-4D97-AF65-F5344CB8AC3E}">
        <p14:creationId xmlns:p14="http://schemas.microsoft.com/office/powerpoint/2010/main" val="424804115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9A310EF-C2FE-3C84-E984-024A7BB868C3}"/>
              </a:ext>
            </a:extLst>
          </p:cNvPr>
          <p:cNvGraphicFramePr>
            <a:graphicFrameLocks noChangeAspect="1"/>
          </p:cNvGraphicFramePr>
          <p:nvPr userDrawn="1">
            <p:custDataLst>
              <p:tags r:id="rId1"/>
            </p:custDataLst>
            <p:extLst>
              <p:ext uri="{D42A27DB-BD31-4B8C-83A1-F6EECF244321}">
                <p14:modId xmlns:p14="http://schemas.microsoft.com/office/powerpoint/2010/main" val="1864726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3" name="think-cell data - do not delete" hidden="1">
                        <a:extLst>
                          <a:ext uri="{FF2B5EF4-FFF2-40B4-BE49-F238E27FC236}">
                            <a16:creationId xmlns:a16="http://schemas.microsoft.com/office/drawing/2014/main" id="{59A310EF-C2FE-3C84-E984-024A7BB868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521711-3A75-3743-A297-695587AC5445}"/>
              </a:ext>
            </a:extLst>
          </p:cNvPr>
          <p:cNvSpPr>
            <a:spLocks noGrp="1"/>
          </p:cNvSpPr>
          <p:nvPr>
            <p:ph type="body" sz="quarter" idx="11" hasCustomPrompt="1"/>
          </p:nvPr>
        </p:nvSpPr>
        <p:spPr>
          <a:xfrm>
            <a:off x="946926" y="144780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Objective</a:t>
            </a:r>
          </a:p>
        </p:txBody>
      </p:sp>
      <p:sp>
        <p:nvSpPr>
          <p:cNvPr id="51" name="Text Placeholder 4">
            <a:extLst>
              <a:ext uri="{FF2B5EF4-FFF2-40B4-BE49-F238E27FC236}">
                <a16:creationId xmlns:a16="http://schemas.microsoft.com/office/drawing/2014/main" id="{43471984-396C-4449-B263-A239F25446FF}"/>
              </a:ext>
            </a:extLst>
          </p:cNvPr>
          <p:cNvSpPr>
            <a:spLocks noGrp="1"/>
          </p:cNvSpPr>
          <p:nvPr>
            <p:ph type="body" sz="quarter" idx="12" hasCustomPrompt="1"/>
          </p:nvPr>
        </p:nvSpPr>
        <p:spPr>
          <a:xfrm>
            <a:off x="946926" y="222504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Objective</a:t>
            </a:r>
          </a:p>
        </p:txBody>
      </p:sp>
      <p:sp>
        <p:nvSpPr>
          <p:cNvPr id="52" name="Text Placeholder 4">
            <a:extLst>
              <a:ext uri="{FF2B5EF4-FFF2-40B4-BE49-F238E27FC236}">
                <a16:creationId xmlns:a16="http://schemas.microsoft.com/office/drawing/2014/main" id="{29C136D0-E494-E24F-B90A-7042198101CB}"/>
              </a:ext>
            </a:extLst>
          </p:cNvPr>
          <p:cNvSpPr>
            <a:spLocks noGrp="1"/>
          </p:cNvSpPr>
          <p:nvPr>
            <p:ph type="body" sz="quarter" idx="13" hasCustomPrompt="1"/>
          </p:nvPr>
        </p:nvSpPr>
        <p:spPr>
          <a:xfrm>
            <a:off x="946926" y="300228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Objective</a:t>
            </a:r>
          </a:p>
        </p:txBody>
      </p:sp>
      <p:sp>
        <p:nvSpPr>
          <p:cNvPr id="53" name="Text Placeholder 4">
            <a:extLst>
              <a:ext uri="{FF2B5EF4-FFF2-40B4-BE49-F238E27FC236}">
                <a16:creationId xmlns:a16="http://schemas.microsoft.com/office/drawing/2014/main" id="{DEDEC461-7391-6640-B021-6187D7670643}"/>
              </a:ext>
            </a:extLst>
          </p:cNvPr>
          <p:cNvSpPr>
            <a:spLocks noGrp="1"/>
          </p:cNvSpPr>
          <p:nvPr>
            <p:ph type="body" sz="quarter" idx="14" hasCustomPrompt="1"/>
          </p:nvPr>
        </p:nvSpPr>
        <p:spPr>
          <a:xfrm>
            <a:off x="946926" y="377952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Objective</a:t>
            </a:r>
          </a:p>
        </p:txBody>
      </p:sp>
      <p:sp>
        <p:nvSpPr>
          <p:cNvPr id="54" name="Text Placeholder 4">
            <a:extLst>
              <a:ext uri="{FF2B5EF4-FFF2-40B4-BE49-F238E27FC236}">
                <a16:creationId xmlns:a16="http://schemas.microsoft.com/office/drawing/2014/main" id="{F8385385-0CF8-E547-BF23-9F5C3BBF97B5}"/>
              </a:ext>
            </a:extLst>
          </p:cNvPr>
          <p:cNvSpPr>
            <a:spLocks noGrp="1"/>
          </p:cNvSpPr>
          <p:nvPr>
            <p:ph type="body" sz="quarter" idx="15" hasCustomPrompt="1"/>
          </p:nvPr>
        </p:nvSpPr>
        <p:spPr>
          <a:xfrm>
            <a:off x="946926" y="455676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Objective</a:t>
            </a:r>
          </a:p>
        </p:txBody>
      </p:sp>
      <p:sp>
        <p:nvSpPr>
          <p:cNvPr id="55" name="Text Placeholder 4">
            <a:extLst>
              <a:ext uri="{FF2B5EF4-FFF2-40B4-BE49-F238E27FC236}">
                <a16:creationId xmlns:a16="http://schemas.microsoft.com/office/drawing/2014/main" id="{BEDA5E1C-B35C-5A4A-8F36-A5FCCE899A45}"/>
              </a:ext>
            </a:extLst>
          </p:cNvPr>
          <p:cNvSpPr>
            <a:spLocks noGrp="1"/>
          </p:cNvSpPr>
          <p:nvPr>
            <p:ph type="body" sz="quarter" idx="16" hasCustomPrompt="1"/>
          </p:nvPr>
        </p:nvSpPr>
        <p:spPr>
          <a:xfrm>
            <a:off x="946926" y="5334001"/>
            <a:ext cx="10533870" cy="473149"/>
          </a:xfrm>
          <a:prstGeom prst="rect">
            <a:avLst/>
          </a:prstGeom>
        </p:spPr>
        <p:txBody>
          <a:bodyPr wrap="square" lIns="0" tIns="0" rIns="0" bIns="0" anchor="ctr" anchorCtr="0">
            <a:normAutofit/>
          </a:bodyPr>
          <a:lstStyle>
            <a:lvl1pPr marL="0" indent="0">
              <a:buNone/>
              <a:defRPr sz="2400" b="0" i="0">
                <a:latin typeface="+mn-lt"/>
                <a:cs typeface="Arial" panose="020B0604020202020204" pitchFamily="34" charset="0"/>
              </a:defRPr>
            </a:lvl1pPr>
            <a:lvl2pPr marL="457200" indent="0">
              <a:buFont typeface="Courier New" panose="02070309020205020404" pitchFamily="49" charset="0"/>
              <a:buNone/>
              <a:defRPr b="0" i="0">
                <a:latin typeface="Gill Sans Nova" panose="020B0502020204020203" pitchFamily="34" charset="0"/>
              </a:defRPr>
            </a:lvl2pPr>
            <a:lvl3pPr marL="914400" indent="0">
              <a:buFont typeface="Courier New" panose="02070309020205020404" pitchFamily="49" charset="0"/>
              <a:buNone/>
              <a:defRPr b="0" i="0">
                <a:latin typeface="Gill Sans Nova" panose="020B0502020204020203" pitchFamily="34" charset="0"/>
              </a:defRPr>
            </a:lvl3pPr>
          </a:lstStyle>
          <a:p>
            <a:pPr lvl="0"/>
            <a:r>
              <a:rPr lang="en-US"/>
              <a:t>Objective</a:t>
            </a:r>
          </a:p>
        </p:txBody>
      </p:sp>
      <p:sp>
        <p:nvSpPr>
          <p:cNvPr id="2" name="Title 1"/>
          <p:cNvSpPr>
            <a:spLocks noGrp="1"/>
          </p:cNvSpPr>
          <p:nvPr>
            <p:ph type="title" hasCustomPrompt="1"/>
          </p:nvPr>
        </p:nvSpPr>
        <p:spPr>
          <a:xfrm>
            <a:off x="355599" y="382589"/>
            <a:ext cx="11125197" cy="350837"/>
          </a:xfrm>
          <a:prstGeom prst="rect">
            <a:avLst/>
          </a:prstGeom>
        </p:spPr>
        <p:txBody>
          <a:bodyPr vert="horz" anchor="t"/>
          <a:lstStyle>
            <a:lvl1pPr>
              <a:defRPr>
                <a:latin typeface="+mn-lt"/>
                <a:cs typeface="Arial" panose="020B0604020202020204" pitchFamily="34" charset="0"/>
              </a:defRPr>
            </a:lvl1pPr>
          </a:lstStyle>
          <a:p>
            <a:r>
              <a:rPr lang="en-US" b="1"/>
              <a:t>Title (try to keep this to one line)</a:t>
            </a:r>
            <a:endParaRPr lang="en-US"/>
          </a:p>
        </p:txBody>
      </p:sp>
      <p:sp>
        <p:nvSpPr>
          <p:cNvPr id="27" name="Text Placeholder 3"/>
          <p:cNvSpPr>
            <a:spLocks noGrp="1"/>
          </p:cNvSpPr>
          <p:nvPr>
            <p:ph type="body" sz="quarter" idx="17" hasCustomPrompt="1"/>
          </p:nvPr>
        </p:nvSpPr>
        <p:spPr>
          <a:xfrm>
            <a:off x="355599" y="760265"/>
            <a:ext cx="11125197" cy="350837"/>
          </a:xfrm>
          <a:prstGeom prst="rect">
            <a:avLst/>
          </a:prstGeom>
        </p:spPr>
        <p:txBody>
          <a:bodyPr vert="horz" wrap="square" lIns="0" tIns="0" rIns="0" bIns="0" anchor="t" anchorCtr="0">
            <a:noAutofit/>
          </a:bodyPr>
          <a:lstStyle>
            <a:lvl1pPr marL="0" indent="0" algn="l">
              <a:lnSpc>
                <a:spcPct val="90000"/>
              </a:lnSpc>
              <a:spcBef>
                <a:spcPts val="1000"/>
              </a:spcBef>
              <a:spcAft>
                <a:spcPts val="0"/>
              </a:spcAft>
              <a:buNone/>
              <a:defRPr sz="1800" b="0" i="1" u="none" kern="1200" spc="0">
                <a:solidFill>
                  <a:schemeClr val="tx2">
                    <a:lumMod val="100000"/>
                  </a:schemeClr>
                </a:solidFill>
                <a:latin typeface="+mn-lt"/>
                <a:cs typeface="Arial" panose="020B0604020202020204" pitchFamily="34" charset="0"/>
              </a:defRPr>
            </a:lvl1pPr>
            <a:lvl2pPr marL="4572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2pPr>
            <a:lvl3pPr marL="9144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3pPr>
            <a:lvl4pPr marL="13716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4pPr>
            <a:lvl5pPr marL="1828800" indent="0" algn="l">
              <a:lnSpc>
                <a:spcPct val="90000"/>
              </a:lnSpc>
              <a:spcBef>
                <a:spcPts val="1000"/>
              </a:spcBef>
              <a:spcAft>
                <a:spcPts val="0"/>
              </a:spcAft>
              <a:buNone/>
              <a:defRPr sz="1800" b="0" i="1" u="none" kern="1200" spc="0">
                <a:solidFill>
                  <a:schemeClr val="tx2">
                    <a:lumMod val="100000"/>
                  </a:schemeClr>
                </a:solidFill>
                <a:latin typeface="Gill Sans Nova Medium" panose="020B0602020204020203" pitchFamily="34" charset="0"/>
              </a:defRPr>
            </a:lvl5pPr>
          </a:lstStyle>
          <a:p>
            <a:pPr lvl="0"/>
            <a:r>
              <a:rPr lang="en-US" i="1"/>
              <a:t>Subtitle (optional—use only if title is one line long)</a:t>
            </a:r>
            <a:endParaRPr lang="en-US"/>
          </a:p>
        </p:txBody>
      </p:sp>
    </p:spTree>
    <p:extLst>
      <p:ext uri="{BB962C8B-B14F-4D97-AF65-F5344CB8AC3E}">
        <p14:creationId xmlns:p14="http://schemas.microsoft.com/office/powerpoint/2010/main" val="10210476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8.xml"/><Relationship Id="rId7"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2.png"/><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slideLayout" Target="../slideLayouts/slideLayout27.xml"/><Relationship Id="rId7" Type="http://schemas.openxmlformats.org/officeDocument/2006/relationships/tags" Target="../tags/tag25.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4.xml"/><Relationship Id="rId5" Type="http://schemas.openxmlformats.org/officeDocument/2006/relationships/slideLayout" Target="../slideLayouts/slideLayout29.xml"/><Relationship Id="rId10" Type="http://schemas.openxmlformats.org/officeDocument/2006/relationships/image" Target="../media/image2.png"/><Relationship Id="rId4" Type="http://schemas.openxmlformats.org/officeDocument/2006/relationships/slideLayout" Target="../slideLayouts/slideLayout28.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slideLayout" Target="../slideLayouts/slideLayout32.xml"/><Relationship Id="rId7" Type="http://schemas.openxmlformats.org/officeDocument/2006/relationships/tags" Target="../tags/tag3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5.xml"/><Relationship Id="rId5" Type="http://schemas.openxmlformats.org/officeDocument/2006/relationships/slideLayout" Target="../slideLayouts/slideLayout34.xml"/><Relationship Id="rId10" Type="http://schemas.openxmlformats.org/officeDocument/2006/relationships/image" Target="../media/image2.png"/><Relationship Id="rId4" Type="http://schemas.openxmlformats.org/officeDocument/2006/relationships/slideLayout" Target="../slideLayouts/slideLayout3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0228640-F0C7-2EB7-A149-6624589178C1}"/>
              </a:ext>
            </a:extLst>
          </p:cNvPr>
          <p:cNvGraphicFramePr>
            <a:graphicFrameLocks noChangeAspect="1"/>
          </p:cNvGraphicFramePr>
          <p:nvPr userDrawn="1">
            <p:custDataLst>
              <p:tags r:id="rId7"/>
            </p:custDataLst>
            <p:extLst>
              <p:ext uri="{D42A27DB-BD31-4B8C-83A1-F6EECF244321}">
                <p14:modId xmlns:p14="http://schemas.microsoft.com/office/powerpoint/2010/main" val="3072243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4" name="think-cell data - do not delete" hidden="1">
                        <a:extLst>
                          <a:ext uri="{FF2B5EF4-FFF2-40B4-BE49-F238E27FC236}">
                            <a16:creationId xmlns:a16="http://schemas.microsoft.com/office/drawing/2014/main" id="{10228640-F0C7-2EB7-A149-6624589178C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9" name="TextBox 178">
            <a:extLst>
              <a:ext uri="{FF2B5EF4-FFF2-40B4-BE49-F238E27FC236}">
                <a16:creationId xmlns:a16="http://schemas.microsoft.com/office/drawing/2014/main" id="{F4B5EE70-AB6A-6344-B2C9-5831AE2FF0F0}"/>
              </a:ext>
            </a:extLst>
          </p:cNvPr>
          <p:cNvSpPr txBox="1"/>
          <p:nvPr userDrawn="1"/>
        </p:nvSpPr>
        <p:spPr>
          <a:xfrm>
            <a:off x="10326246" y="6514569"/>
            <a:ext cx="1522854" cy="138499"/>
          </a:xfrm>
          <a:prstGeom prst="rect">
            <a:avLst/>
          </a:prstGeom>
          <a:noFill/>
        </p:spPr>
        <p:txBody>
          <a:bodyPr wrap="none" lIns="0" tIns="0" rIns="0" bIns="0" rtlCol="0">
            <a:spAutoFit/>
          </a:bodyPr>
          <a:lstStyle/>
          <a:p>
            <a:pPr algn="r"/>
            <a:r>
              <a:rPr lang="en-US" sz="900" b="0" i="0" dirty="0">
                <a:solidFill>
                  <a:schemeClr val="tx1"/>
                </a:solidFill>
                <a:latin typeface="Gill Sans Nova SemiBold" panose="020B0502020204020203" pitchFamily="34" charset="0"/>
                <a:ea typeface="Lato" panose="020F0502020204030203" pitchFamily="34" charset="0"/>
                <a:cs typeface="Poppins SemiBold" panose="02000000000000000000" pitchFamily="2" charset="0"/>
              </a:rPr>
              <a:t>© The Holdsworth Center 2024</a:t>
            </a:r>
            <a:endParaRPr lang="ru-RU" sz="600" b="0" i="0" dirty="0">
              <a:solidFill>
                <a:schemeClr val="tx1"/>
              </a:solidFill>
              <a:latin typeface="Gill Sans Nova SemiBold" panose="020B0502020204020203" pitchFamily="34" charset="0"/>
              <a:ea typeface="Lato" panose="020F0502020204030203" pitchFamily="34" charset="0"/>
              <a:cs typeface="Poppins SemiBold" panose="02000000000000000000" pitchFamily="2" charset="0"/>
            </a:endParaRPr>
          </a:p>
        </p:txBody>
      </p:sp>
      <p:sp>
        <p:nvSpPr>
          <p:cNvPr id="3" name="Title Placeholder 2"/>
          <p:cNvSpPr>
            <a:spLocks noGrp="1"/>
          </p:cNvSpPr>
          <p:nvPr>
            <p:ph type="title"/>
          </p:nvPr>
        </p:nvSpPr>
        <p:spPr>
          <a:xfrm>
            <a:off x="342900" y="382589"/>
            <a:ext cx="11506200" cy="350837"/>
          </a:xfrm>
          <a:prstGeom prst="rect">
            <a:avLst/>
          </a:prstGeom>
        </p:spPr>
        <p:txBody>
          <a:bodyPr vert="horz" wrap="square" lIns="0" tIns="0" rIns="0" bIns="0" rtlCol="0" anchor="t" anchorCtr="0">
            <a:noAutofit/>
          </a:bodyPr>
          <a:lstStyle/>
          <a:p>
            <a:pPr lvl="0"/>
            <a:r>
              <a:rPr lang="en-US" b="1"/>
              <a:t>Title (try to keep this to one line)</a:t>
            </a:r>
            <a:endParaRPr lang="en-US"/>
          </a:p>
        </p:txBody>
      </p:sp>
      <p:pic>
        <p:nvPicPr>
          <p:cNvPr id="1026" name="Picture 2" descr="Holdsworth Educator Retreat">
            <a:extLst>
              <a:ext uri="{FF2B5EF4-FFF2-40B4-BE49-F238E27FC236}">
                <a16:creationId xmlns:a16="http://schemas.microsoft.com/office/drawing/2014/main" id="{4F6FB382-DB72-DA77-0D37-9751960D20C2}"/>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42900" y="6423575"/>
            <a:ext cx="2057400" cy="274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5188524"/>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4" r:id="rId3"/>
    <p:sldLayoutId id="2147483778" r:id="rId4"/>
    <p:sldLayoutId id="2147483674" r:id="rId5"/>
  </p:sldLayoutIdLst>
  <p:hf sldNum="0" hdr="0" ftr="0" dt="0"/>
  <p:txStyles>
    <p:titleStyle>
      <a:lvl1pPr marL="0" indent="0" algn="l" defTabSz="914400" rtl="0" eaLnBrk="1" latinLnBrk="0" hangingPunct="1">
        <a:lnSpc>
          <a:spcPct val="90000"/>
        </a:lnSpc>
        <a:spcBef>
          <a:spcPts val="1000"/>
        </a:spcBef>
        <a:spcAft>
          <a:spcPts val="0"/>
        </a:spcAft>
        <a:buNone/>
        <a:defRPr sz="2800" b="1" i="0" u="none" kern="1200" spc="0">
          <a:solidFill>
            <a:schemeClr val="tx2">
              <a:lumMod val="100000"/>
            </a:schemeClr>
          </a:solidFill>
          <a:latin typeface="+mn-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72" userDrawn="1">
          <p15:clr>
            <a:srgbClr val="A4A3A4"/>
          </p15:clr>
        </p15:guide>
        <p15:guide id="2" orient="horz" pos="3936" userDrawn="1">
          <p15:clr>
            <a:srgbClr val="A4A3A4"/>
          </p15:clr>
        </p15:guide>
        <p15:guide id="3" pos="448" userDrawn="1">
          <p15:clr>
            <a:srgbClr val="A4A3A4"/>
          </p15:clr>
        </p15:guide>
        <p15:guide id="4" pos="7232"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72E8F4-6C69-EB06-8B38-2DE220DE3C25}"/>
              </a:ext>
            </a:extLst>
          </p:cNvPr>
          <p:cNvGraphicFramePr>
            <a:graphicFrameLocks noChangeAspect="1"/>
          </p:cNvGraphicFramePr>
          <p:nvPr userDrawn="1">
            <p:custDataLst>
              <p:tags r:id="rId8"/>
            </p:custDataLst>
            <p:extLst>
              <p:ext uri="{D42A27DB-BD31-4B8C-83A1-F6EECF244321}">
                <p14:modId xmlns:p14="http://schemas.microsoft.com/office/powerpoint/2010/main" val="185189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5" progId="TCLayout.ActiveDocument.1">
                  <p:embed/>
                </p:oleObj>
              </mc:Choice>
              <mc:Fallback>
                <p:oleObj name="think-cell Slide" r:id="rId9" imgW="404" imgH="405" progId="TCLayout.ActiveDocument.1">
                  <p:embed/>
                  <p:pic>
                    <p:nvPicPr>
                      <p:cNvPr id="5" name="think-cell data - do not delete" hidden="1">
                        <a:extLst>
                          <a:ext uri="{FF2B5EF4-FFF2-40B4-BE49-F238E27FC236}">
                            <a16:creationId xmlns:a16="http://schemas.microsoft.com/office/drawing/2014/main" id="{7B72E8F4-6C69-EB06-8B38-2DE220DE3C2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80" name="Прямоугольник 10">
            <a:extLst>
              <a:ext uri="{FF2B5EF4-FFF2-40B4-BE49-F238E27FC236}">
                <a16:creationId xmlns:a16="http://schemas.microsoft.com/office/drawing/2014/main" id="{A37E9C37-B0D7-ED42-AADB-E2A4C20B369D}"/>
              </a:ext>
            </a:extLst>
          </p:cNvPr>
          <p:cNvSpPr/>
          <p:nvPr userDrawn="1"/>
        </p:nvSpPr>
        <p:spPr>
          <a:xfrm>
            <a:off x="11480800" y="268160"/>
            <a:ext cx="711200" cy="276999"/>
          </a:xfrm>
          <a:prstGeom prst="rect">
            <a:avLst/>
          </a:prstGeom>
        </p:spPr>
        <p:txBody>
          <a:bodyPr wrap="square" anchor="ctr" anchorCtr="0">
            <a:spAutoFit/>
          </a:bodyPr>
          <a:lstStyle/>
          <a:p>
            <a:pPr algn="ctr"/>
            <a:fld id="{149B6D55-4680-4DC5-B665-330CCBA60EFE}" type="slidenum">
              <a:rPr lang="ru-RU" sz="1200" b="1" i="0" baseline="0" smtClean="0">
                <a:solidFill>
                  <a:schemeClr val="bg1">
                    <a:lumMod val="65000"/>
                  </a:schemeClr>
                </a:solidFill>
                <a:latin typeface="Arial" panose="020B0604020202020204" pitchFamily="34" charset="0"/>
                <a:ea typeface="Lato" panose="020F0502020204030203" pitchFamily="34" charset="0"/>
                <a:cs typeface="Arial" panose="020B0604020202020204" pitchFamily="34" charset="0"/>
              </a:rPr>
              <a:pPr algn="ctr"/>
              <a:t>‹#›</a:t>
            </a:fld>
            <a:endParaRPr lang="ru-RU" sz="1200" b="1" i="0">
              <a:solidFill>
                <a:schemeClr val="bg1">
                  <a:lumMod val="65000"/>
                </a:schemeClr>
              </a:solidFill>
              <a:latin typeface="Arial" panose="020B0604020202020204" pitchFamily="34" charset="0"/>
              <a:ea typeface="Lato" panose="020F0502020204030203" pitchFamily="34" charset="0"/>
              <a:cs typeface="Arial" panose="020B0604020202020204" pitchFamily="34" charset="0"/>
            </a:endParaRPr>
          </a:p>
        </p:txBody>
      </p:sp>
      <p:cxnSp>
        <p:nvCxnSpPr>
          <p:cNvPr id="181" name="Прямая соединительная линия 16">
            <a:extLst>
              <a:ext uri="{FF2B5EF4-FFF2-40B4-BE49-F238E27FC236}">
                <a16:creationId xmlns:a16="http://schemas.microsoft.com/office/drawing/2014/main" id="{C0D56E6E-DD3D-6E44-AE0F-903BA234927F}"/>
              </a:ext>
            </a:extLst>
          </p:cNvPr>
          <p:cNvCxnSpPr/>
          <p:nvPr userDrawn="1"/>
        </p:nvCxnSpPr>
        <p:spPr>
          <a:xfrm flipH="1">
            <a:off x="11834692" y="609601"/>
            <a:ext cx="3416" cy="47223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idx="1"/>
          </p:nvPr>
        </p:nvSpPr>
        <p:spPr>
          <a:xfrm>
            <a:off x="342900" y="1447800"/>
            <a:ext cx="11484960" cy="3886200"/>
          </a:xfrm>
          <a:prstGeom prst="rect">
            <a:avLst/>
          </a:prstGeom>
        </p:spPr>
        <p:txBody>
          <a:bodyPr vert="horz" lIns="0" tIns="0" rIns="0" bIns="0" rtlCol="0"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8" name="Title Placeholder 2">
            <a:extLst>
              <a:ext uri="{FF2B5EF4-FFF2-40B4-BE49-F238E27FC236}">
                <a16:creationId xmlns:a16="http://schemas.microsoft.com/office/drawing/2014/main" id="{8C7A4D6D-F881-031A-962E-DEFA475F7846}"/>
              </a:ext>
            </a:extLst>
          </p:cNvPr>
          <p:cNvSpPr>
            <a:spLocks noGrp="1"/>
          </p:cNvSpPr>
          <p:nvPr>
            <p:ph type="title"/>
          </p:nvPr>
        </p:nvSpPr>
        <p:spPr>
          <a:xfrm>
            <a:off x="342900" y="382589"/>
            <a:ext cx="11236084" cy="350837"/>
          </a:xfrm>
          <a:prstGeom prst="rect">
            <a:avLst/>
          </a:prstGeom>
        </p:spPr>
        <p:txBody>
          <a:bodyPr vert="horz" wrap="square" lIns="0" tIns="0" rIns="0" bIns="0" rtlCol="0" anchor="t" anchorCtr="0">
            <a:noAutofit/>
          </a:bodyPr>
          <a:lstStyle/>
          <a:p>
            <a:pPr lvl="0"/>
            <a:r>
              <a:rPr lang="en-US" b="1"/>
              <a:t>Title (try to keep this to one line)</a:t>
            </a:r>
            <a:endParaRPr lang="en-US"/>
          </a:p>
        </p:txBody>
      </p:sp>
      <p:pic>
        <p:nvPicPr>
          <p:cNvPr id="9" name="Picture 2" descr="Holdsworth Educator Retreat">
            <a:extLst>
              <a:ext uri="{FF2B5EF4-FFF2-40B4-BE49-F238E27FC236}">
                <a16:creationId xmlns:a16="http://schemas.microsoft.com/office/drawing/2014/main" id="{172743CA-6C00-AB88-C11B-8259EC1EF709}"/>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342900" y="6382972"/>
            <a:ext cx="2057400" cy="27432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4CE47F6-9B79-3ABA-F5F5-CAE02ABC5EE1}"/>
              </a:ext>
            </a:extLst>
          </p:cNvPr>
          <p:cNvSpPr txBox="1"/>
          <p:nvPr userDrawn="1"/>
        </p:nvSpPr>
        <p:spPr>
          <a:xfrm>
            <a:off x="10326246" y="6514569"/>
            <a:ext cx="1522854" cy="138499"/>
          </a:xfrm>
          <a:prstGeom prst="rect">
            <a:avLst/>
          </a:prstGeom>
          <a:noFill/>
        </p:spPr>
        <p:txBody>
          <a:bodyPr wrap="none" lIns="0" tIns="0" rIns="0" bIns="0" rtlCol="0">
            <a:spAutoFit/>
          </a:bodyPr>
          <a:lstStyle/>
          <a:p>
            <a:pPr algn="r"/>
            <a:r>
              <a:rPr lang="en-US" sz="900" b="0" i="0" dirty="0">
                <a:solidFill>
                  <a:schemeClr val="tx1"/>
                </a:solidFill>
                <a:latin typeface="Gill Sans Nova SemiBold" panose="020B0502020204020203" pitchFamily="34" charset="0"/>
                <a:ea typeface="Lato" panose="020F0502020204030203" pitchFamily="34" charset="0"/>
                <a:cs typeface="Poppins SemiBold" panose="02000000000000000000" pitchFamily="2" charset="0"/>
              </a:rPr>
              <a:t>© The Holdsworth Center 2024</a:t>
            </a:r>
            <a:endParaRPr lang="ru-RU" sz="600" b="0" i="0" dirty="0">
              <a:solidFill>
                <a:schemeClr val="tx1"/>
              </a:solidFill>
              <a:latin typeface="Gill Sans Nova SemiBold" panose="020B0502020204020203" pitchFamily="34" charset="0"/>
              <a:ea typeface="Lato" panose="020F0502020204030203" pitchFamily="34" charset="0"/>
              <a:cs typeface="Poppins SemiBold" panose="02000000000000000000" pitchFamily="2" charset="0"/>
            </a:endParaRPr>
          </a:p>
        </p:txBody>
      </p:sp>
    </p:spTree>
    <p:extLst>
      <p:ext uri="{BB962C8B-B14F-4D97-AF65-F5344CB8AC3E}">
        <p14:creationId xmlns:p14="http://schemas.microsoft.com/office/powerpoint/2010/main" val="4260727193"/>
      </p:ext>
    </p:extLst>
  </p:cSld>
  <p:clrMap bg1="lt1" tx1="dk1" bg2="lt2" tx2="dk2" accent1="accent1" accent2="accent2" accent3="accent3" accent4="accent4" accent5="accent5" accent6="accent6" hlink="hlink" folHlink="folHlink"/>
  <p:sldLayoutIdLst>
    <p:sldLayoutId id="2147483775" r:id="rId1"/>
    <p:sldLayoutId id="2147483782" r:id="rId2"/>
    <p:sldLayoutId id="2147483783" r:id="rId3"/>
    <p:sldLayoutId id="2147483784" r:id="rId4"/>
    <p:sldLayoutId id="2147483773" r:id="rId5"/>
    <p:sldLayoutId id="2147483779" r:id="rId6"/>
  </p:sldLayoutIdLst>
  <p:hf sldNum="0" hdr="0" ftr="0" dt="0"/>
  <p:txStyles>
    <p:titleStyle>
      <a:lvl1pPr marL="0" indent="0" algn="l" defTabSz="914400" rtl="0" eaLnBrk="1" latinLnBrk="0" hangingPunct="1">
        <a:lnSpc>
          <a:spcPct val="90000"/>
        </a:lnSpc>
        <a:spcBef>
          <a:spcPts val="1000"/>
        </a:spcBef>
        <a:spcAft>
          <a:spcPts val="0"/>
        </a:spcAft>
        <a:buNone/>
        <a:defRPr sz="2800" b="1" i="0" u="none" kern="1200" spc="0">
          <a:solidFill>
            <a:schemeClr val="tx2">
              <a:lumMod val="100000"/>
            </a:schemeClr>
          </a:solidFill>
          <a:latin typeface="+mn-lt"/>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3" pos="7232" userDrawn="1">
          <p15:clr>
            <a:srgbClr val="A4A3A4"/>
          </p15:clr>
        </p15:guide>
        <p15:guide id="51" orient="horz" pos="672" userDrawn="1">
          <p15:clr>
            <a:srgbClr val="A4A3A4"/>
          </p15:clr>
        </p15:guide>
        <p15:guide id="52" pos="448" userDrawn="1">
          <p15:clr>
            <a:srgbClr val="A4A3A4"/>
          </p15:clr>
        </p15:guide>
        <p15:guide id="53" orient="horz" pos="3936"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674C6D-763D-798C-89D6-C8FF8DF2F06A}"/>
              </a:ext>
            </a:extLst>
          </p:cNvPr>
          <p:cNvGraphicFramePr>
            <a:graphicFrameLocks noChangeAspect="1"/>
          </p:cNvGraphicFramePr>
          <p:nvPr userDrawn="1">
            <p:custDataLst>
              <p:tags r:id="rId15"/>
            </p:custDataLst>
            <p:extLst>
              <p:ext uri="{D42A27DB-BD31-4B8C-83A1-F6EECF244321}">
                <p14:modId xmlns:p14="http://schemas.microsoft.com/office/powerpoint/2010/main" val="279620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04" imgH="405" progId="TCLayout.ActiveDocument.1">
                  <p:embed/>
                </p:oleObj>
              </mc:Choice>
              <mc:Fallback>
                <p:oleObj name="think-cell Slide" r:id="rId16" imgW="404" imgH="405" progId="TCLayout.ActiveDocument.1">
                  <p:embed/>
                  <p:pic>
                    <p:nvPicPr>
                      <p:cNvPr id="5" name="think-cell data - do not delete" hidden="1">
                        <a:extLst>
                          <a:ext uri="{FF2B5EF4-FFF2-40B4-BE49-F238E27FC236}">
                            <a16:creationId xmlns:a16="http://schemas.microsoft.com/office/drawing/2014/main" id="{BB674C6D-763D-798C-89D6-C8FF8DF2F06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Прямоугольник 10">
            <a:extLst>
              <a:ext uri="{FF2B5EF4-FFF2-40B4-BE49-F238E27FC236}">
                <a16:creationId xmlns:a16="http://schemas.microsoft.com/office/drawing/2014/main" id="{55050500-FCA6-544B-8307-32FAC29569AA}"/>
              </a:ext>
            </a:extLst>
          </p:cNvPr>
          <p:cNvSpPr/>
          <p:nvPr userDrawn="1"/>
        </p:nvSpPr>
        <p:spPr>
          <a:xfrm>
            <a:off x="11480800" y="268160"/>
            <a:ext cx="711200" cy="276999"/>
          </a:xfrm>
          <a:prstGeom prst="rect">
            <a:avLst/>
          </a:prstGeom>
        </p:spPr>
        <p:txBody>
          <a:bodyPr wrap="square" anchor="ctr" anchorCtr="0">
            <a:spAutoFit/>
          </a:bodyPr>
          <a:lstStyle/>
          <a:p>
            <a:pPr algn="ctr"/>
            <a:fld id="{149B6D55-4680-4DC5-B665-330CCBA60EFE}" type="slidenum">
              <a:rPr lang="ru-RU" sz="1200" b="1" i="0" baseline="0" smtClean="0">
                <a:solidFill>
                  <a:schemeClr val="bg1">
                    <a:lumMod val="65000"/>
                  </a:schemeClr>
                </a:solidFill>
                <a:latin typeface="Arial" panose="020B0604020202020204" pitchFamily="34" charset="0"/>
                <a:ea typeface="Lato" panose="020F0502020204030203" pitchFamily="34" charset="0"/>
                <a:cs typeface="Arial" panose="020B0604020202020204" pitchFamily="34" charset="0"/>
              </a:rPr>
              <a:pPr algn="ctr"/>
              <a:t>‹#›</a:t>
            </a:fld>
            <a:endParaRPr lang="ru-RU" sz="1200" b="1" i="0">
              <a:solidFill>
                <a:schemeClr val="bg1">
                  <a:lumMod val="65000"/>
                </a:schemeClr>
              </a:solidFill>
              <a:latin typeface="Arial" panose="020B0604020202020204" pitchFamily="34" charset="0"/>
              <a:ea typeface="Lato" panose="020F0502020204030203" pitchFamily="34" charset="0"/>
              <a:cs typeface="Arial" panose="020B0604020202020204" pitchFamily="34" charset="0"/>
            </a:endParaRPr>
          </a:p>
        </p:txBody>
      </p:sp>
      <p:cxnSp>
        <p:nvCxnSpPr>
          <p:cNvPr id="10" name="Прямая соединительная линия 16">
            <a:extLst>
              <a:ext uri="{FF2B5EF4-FFF2-40B4-BE49-F238E27FC236}">
                <a16:creationId xmlns:a16="http://schemas.microsoft.com/office/drawing/2014/main" id="{5306F0EE-9A4E-0E41-A848-2F919C3A25E5}"/>
              </a:ext>
            </a:extLst>
          </p:cNvPr>
          <p:cNvCxnSpPr/>
          <p:nvPr userDrawn="1"/>
        </p:nvCxnSpPr>
        <p:spPr>
          <a:xfrm flipH="1">
            <a:off x="11834692" y="609601"/>
            <a:ext cx="3416" cy="47223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342900" y="1447801"/>
            <a:ext cx="11137900" cy="4790661"/>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8" name="Title Placeholder 2">
            <a:extLst>
              <a:ext uri="{FF2B5EF4-FFF2-40B4-BE49-F238E27FC236}">
                <a16:creationId xmlns:a16="http://schemas.microsoft.com/office/drawing/2014/main" id="{3273DF4D-9214-81CB-D807-106880E47E95}"/>
              </a:ext>
            </a:extLst>
          </p:cNvPr>
          <p:cNvSpPr>
            <a:spLocks noGrp="1"/>
          </p:cNvSpPr>
          <p:nvPr>
            <p:ph type="title"/>
          </p:nvPr>
        </p:nvSpPr>
        <p:spPr>
          <a:xfrm>
            <a:off x="342900" y="382589"/>
            <a:ext cx="11506200" cy="350837"/>
          </a:xfrm>
          <a:prstGeom prst="rect">
            <a:avLst/>
          </a:prstGeom>
        </p:spPr>
        <p:txBody>
          <a:bodyPr vert="horz" wrap="square" lIns="0" tIns="0" rIns="0" bIns="0" rtlCol="0" anchor="t" anchorCtr="0">
            <a:noAutofit/>
          </a:bodyPr>
          <a:lstStyle/>
          <a:p>
            <a:pPr lvl="0"/>
            <a:r>
              <a:rPr lang="en-US" b="1"/>
              <a:t>Title (try to keep this to one line)</a:t>
            </a:r>
            <a:endParaRPr lang="en-US"/>
          </a:p>
        </p:txBody>
      </p:sp>
      <p:pic>
        <p:nvPicPr>
          <p:cNvPr id="11" name="Picture 2" descr="Holdsworth Educator Retreat">
            <a:extLst>
              <a:ext uri="{FF2B5EF4-FFF2-40B4-BE49-F238E27FC236}">
                <a16:creationId xmlns:a16="http://schemas.microsoft.com/office/drawing/2014/main" id="{1FDBDC57-612A-92FB-ED62-F451D7DA082E}"/>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342900" y="6382972"/>
            <a:ext cx="2057400" cy="27432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0D58ADB-8FF2-2E6F-0793-E654DE3DE0DB}"/>
              </a:ext>
            </a:extLst>
          </p:cNvPr>
          <p:cNvSpPr txBox="1"/>
          <p:nvPr userDrawn="1"/>
        </p:nvSpPr>
        <p:spPr>
          <a:xfrm>
            <a:off x="10326246" y="6514569"/>
            <a:ext cx="1522854" cy="138499"/>
          </a:xfrm>
          <a:prstGeom prst="rect">
            <a:avLst/>
          </a:prstGeom>
          <a:noFill/>
        </p:spPr>
        <p:txBody>
          <a:bodyPr wrap="none" lIns="0" tIns="0" rIns="0" bIns="0" rtlCol="0">
            <a:spAutoFit/>
          </a:bodyPr>
          <a:lstStyle/>
          <a:p>
            <a:pPr algn="r"/>
            <a:r>
              <a:rPr lang="en-US" sz="900" b="0" i="0" dirty="0">
                <a:solidFill>
                  <a:schemeClr val="tx1"/>
                </a:solidFill>
                <a:latin typeface="Gill Sans Nova SemiBold" panose="020B0502020204020203" pitchFamily="34" charset="0"/>
                <a:ea typeface="Lato" panose="020F0502020204030203" pitchFamily="34" charset="0"/>
                <a:cs typeface="Poppins SemiBold" panose="02000000000000000000" pitchFamily="2" charset="0"/>
              </a:rPr>
              <a:t>© The Holdsworth Center 2024</a:t>
            </a:r>
            <a:endParaRPr lang="ru-RU" sz="600" b="0" i="0" dirty="0">
              <a:solidFill>
                <a:schemeClr val="tx1"/>
              </a:solidFill>
              <a:latin typeface="Gill Sans Nova SemiBold" panose="020B0502020204020203" pitchFamily="34" charset="0"/>
              <a:ea typeface="Lato" panose="020F0502020204030203" pitchFamily="34" charset="0"/>
              <a:cs typeface="Poppins SemiBold" panose="02000000000000000000" pitchFamily="2" charset="0"/>
            </a:endParaRPr>
          </a:p>
        </p:txBody>
      </p:sp>
    </p:spTree>
    <p:extLst>
      <p:ext uri="{BB962C8B-B14F-4D97-AF65-F5344CB8AC3E}">
        <p14:creationId xmlns:p14="http://schemas.microsoft.com/office/powerpoint/2010/main" val="2658293628"/>
      </p:ext>
    </p:extLst>
  </p:cSld>
  <p:clrMap bg1="lt1" tx1="dk1" bg2="lt2" tx2="dk2" accent1="accent1" accent2="accent2" accent3="accent3" accent4="accent4" accent5="accent5" accent6="accent6" hlink="hlink" folHlink="folHlink"/>
  <p:sldLayoutIdLst>
    <p:sldLayoutId id="2147483765" r:id="rId1"/>
    <p:sldLayoutId id="2147483752" r:id="rId2"/>
    <p:sldLayoutId id="2147483760" r:id="rId3"/>
    <p:sldLayoutId id="2147483753" r:id="rId4"/>
    <p:sldLayoutId id="2147483785" r:id="rId5"/>
    <p:sldLayoutId id="2147483781" r:id="rId6"/>
    <p:sldLayoutId id="2147483757" r:id="rId7"/>
    <p:sldLayoutId id="2147483754" r:id="rId8"/>
    <p:sldLayoutId id="2147483780" r:id="rId9"/>
    <p:sldLayoutId id="2147483786" r:id="rId10"/>
    <p:sldLayoutId id="2147483787" r:id="rId11"/>
    <p:sldLayoutId id="2147483788" r:id="rId12"/>
    <p:sldLayoutId id="2147483789" r:id="rId13"/>
  </p:sldLayoutIdLst>
  <p:hf sldNum="0" hdr="0" ftr="0" dt="0"/>
  <p:txStyles>
    <p:titleStyle>
      <a:lvl1pPr marL="0" indent="0" algn="l" defTabSz="914400" rtl="0" eaLnBrk="1" latinLnBrk="0" hangingPunct="1">
        <a:lnSpc>
          <a:spcPct val="90000"/>
        </a:lnSpc>
        <a:spcBef>
          <a:spcPts val="1000"/>
        </a:spcBef>
        <a:spcAft>
          <a:spcPts val="0"/>
        </a:spcAft>
        <a:buNone/>
        <a:defRPr sz="2800" b="1" i="0" u="none" kern="1200" spc="0">
          <a:solidFill>
            <a:schemeClr val="tx2">
              <a:lumMod val="100000"/>
            </a:schemeClr>
          </a:solidFill>
          <a:latin typeface="+mn-lt"/>
          <a:ea typeface="+mj-ea"/>
          <a:cs typeface="Arial" panose="020B0604020202020204" pitchFamily="34" charset="0"/>
        </a:defRPr>
      </a:lvl1pPr>
    </p:titleStyle>
    <p:bodyStyle>
      <a:lvl1pPr marL="0" indent="-457200" algn="l" defTabSz="914400" rtl="0" eaLnBrk="1" latinLnBrk="0" hangingPunct="1">
        <a:lnSpc>
          <a:spcPct val="100000"/>
        </a:lnSpc>
        <a:spcBef>
          <a:spcPts val="0"/>
        </a:spcBef>
        <a:spcAft>
          <a:spcPts val="600"/>
        </a:spcAft>
        <a:buFont typeface="Arial" panose="020B0604020202020204" pitchFamily="34" charset="0"/>
        <a:buNone/>
        <a:defRPr sz="2400" b="0" i="0" u="none" kern="1200" spc="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lumMod val="100000"/>
          </a:schemeClr>
        </a:buClr>
        <a:buSzPct val="100000"/>
        <a:buFont typeface="Arial" panose="020B0604020202020204" pitchFamily="34" charset="0"/>
        <a:buChar char="●"/>
        <a:defRPr sz="2400" b="0" i="0" u="none" kern="1200" spc="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lumMod val="100000"/>
          </a:schemeClr>
        </a:buClr>
        <a:buSzPct val="100000"/>
        <a:buFont typeface="Courier New" panose="02070309020205020404" pitchFamily="49" charset="0"/>
        <a:buChar char="o"/>
        <a:defRPr sz="2400" b="0" i="0" u="none" kern="1200" spc="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lumMod val="100000"/>
          </a:schemeClr>
        </a:buClr>
        <a:buSzPct val="100000"/>
        <a:buFont typeface="Wingdings" panose="05000000000000000000" pitchFamily="2" charset="2"/>
        <a:buChar char="§"/>
        <a:defRPr sz="2400" b="0" i="0" u="none" kern="1200" spc="0" baseline="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lumMod val="100000"/>
          </a:schemeClr>
        </a:buClr>
        <a:buSzPct val="100000"/>
        <a:buFont typeface="Arial" panose="020B0604020202020204" pitchFamily="34" charset="0"/>
        <a:buChar char="•"/>
        <a:defRPr sz="2400" b="0" i="0" u="none" kern="1200" spc="0" baseline="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2" pos="448" userDrawn="1">
          <p15:clr>
            <a:srgbClr val="A4A3A4"/>
          </p15:clr>
        </p15:guide>
        <p15:guide id="33" pos="7232" userDrawn="1">
          <p15:clr>
            <a:srgbClr val="A4A3A4"/>
          </p15:clr>
        </p15:guide>
        <p15:guide id="34" orient="horz" pos="672" userDrawn="1">
          <p15:clr>
            <a:srgbClr val="A4A3A4"/>
          </p15:clr>
        </p15:guide>
        <p15:guide id="35" orient="horz" pos="3936"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6A858ED-67A7-25A7-442B-08308AC197F9}"/>
              </a:ext>
            </a:extLst>
          </p:cNvPr>
          <p:cNvGraphicFramePr>
            <a:graphicFrameLocks noChangeAspect="1"/>
          </p:cNvGraphicFramePr>
          <p:nvPr userDrawn="1">
            <p:custDataLst>
              <p:tags r:id="rId7"/>
            </p:custDataLst>
            <p:extLst>
              <p:ext uri="{D42A27DB-BD31-4B8C-83A1-F6EECF244321}">
                <p14:modId xmlns:p14="http://schemas.microsoft.com/office/powerpoint/2010/main" val="1159723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7" name="think-cell data - do not delete" hidden="1">
                        <a:extLst>
                          <a:ext uri="{FF2B5EF4-FFF2-40B4-BE49-F238E27FC236}">
                            <a16:creationId xmlns:a16="http://schemas.microsoft.com/office/drawing/2014/main" id="{86A858ED-67A7-25A7-442B-08308AC197F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7AB9B5B-8C9E-A04C-8242-CCDDF380559B}"/>
              </a:ext>
            </a:extLst>
          </p:cNvPr>
          <p:cNvSpPr/>
          <p:nvPr userDrawn="1"/>
        </p:nvSpPr>
        <p:spPr>
          <a:xfrm>
            <a:off x="0" y="6248400"/>
            <a:ext cx="12192000"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endParaRPr>
          </a:p>
        </p:txBody>
      </p:sp>
      <p:sp>
        <p:nvSpPr>
          <p:cNvPr id="4" name="Title Placeholder 3"/>
          <p:cNvSpPr>
            <a:spLocks noGrp="1"/>
          </p:cNvSpPr>
          <p:nvPr>
            <p:ph type="title"/>
          </p:nvPr>
        </p:nvSpPr>
        <p:spPr>
          <a:xfrm>
            <a:off x="342900" y="382589"/>
            <a:ext cx="11137900" cy="350837"/>
          </a:xfrm>
          <a:prstGeom prst="rect">
            <a:avLst/>
          </a:prstGeom>
        </p:spPr>
        <p:txBody>
          <a:bodyPr vert="horz" wrap="square" lIns="0" tIns="0" rIns="0" bIns="0" rtlCol="0" anchor="t" anchorCtr="0">
            <a:noAutofit/>
          </a:bodyPr>
          <a:lstStyle/>
          <a:p>
            <a:pPr lvl="0"/>
            <a:r>
              <a:rPr lang="en-US" b="1"/>
              <a:t>Title (try to keep this to one line)</a:t>
            </a:r>
            <a:endParaRPr lang="en-US"/>
          </a:p>
        </p:txBody>
      </p:sp>
      <p:sp>
        <p:nvSpPr>
          <p:cNvPr id="8" name="Text Placeholder 2"/>
          <p:cNvSpPr>
            <a:spLocks noGrp="1"/>
          </p:cNvSpPr>
          <p:nvPr>
            <p:ph type="body" idx="1"/>
          </p:nvPr>
        </p:nvSpPr>
        <p:spPr>
          <a:xfrm>
            <a:off x="342900" y="1447801"/>
            <a:ext cx="11137900" cy="4790661"/>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pic>
        <p:nvPicPr>
          <p:cNvPr id="11" name="Picture 2" descr="Holdsworth Educator Retreat">
            <a:extLst>
              <a:ext uri="{FF2B5EF4-FFF2-40B4-BE49-F238E27FC236}">
                <a16:creationId xmlns:a16="http://schemas.microsoft.com/office/drawing/2014/main" id="{AB95F8B4-2F00-1DBD-AE83-78920C0E718D}"/>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42900" y="6423575"/>
            <a:ext cx="2057400" cy="27432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F3AC-A0D0-A2CD-7D8E-660A0846EC19}"/>
              </a:ext>
            </a:extLst>
          </p:cNvPr>
          <p:cNvSpPr txBox="1"/>
          <p:nvPr userDrawn="1"/>
        </p:nvSpPr>
        <p:spPr>
          <a:xfrm>
            <a:off x="10326246" y="6514569"/>
            <a:ext cx="1522854" cy="138499"/>
          </a:xfrm>
          <a:prstGeom prst="rect">
            <a:avLst/>
          </a:prstGeom>
          <a:noFill/>
        </p:spPr>
        <p:txBody>
          <a:bodyPr wrap="none" lIns="0" tIns="0" rIns="0" bIns="0" rtlCol="0">
            <a:spAutoFit/>
          </a:bodyPr>
          <a:lstStyle/>
          <a:p>
            <a:pPr algn="r"/>
            <a:r>
              <a:rPr lang="en-US" sz="900" b="0" i="0" dirty="0">
                <a:solidFill>
                  <a:schemeClr val="tx1"/>
                </a:solidFill>
                <a:latin typeface="Gill Sans Nova SemiBold" panose="020B0502020204020203" pitchFamily="34" charset="0"/>
                <a:ea typeface="Lato" panose="020F0502020204030203" pitchFamily="34" charset="0"/>
                <a:cs typeface="Poppins SemiBold" panose="02000000000000000000" pitchFamily="2" charset="0"/>
              </a:rPr>
              <a:t>© The Holdsworth Center 2024</a:t>
            </a:r>
            <a:endParaRPr lang="ru-RU" sz="600" b="0" i="0" dirty="0">
              <a:solidFill>
                <a:schemeClr val="tx1"/>
              </a:solidFill>
              <a:latin typeface="Gill Sans Nova SemiBold" panose="020B0502020204020203" pitchFamily="34" charset="0"/>
              <a:ea typeface="Lato" panose="020F0502020204030203" pitchFamily="34" charset="0"/>
              <a:cs typeface="Poppins SemiBold" panose="02000000000000000000" pitchFamily="2" charset="0"/>
            </a:endParaRPr>
          </a:p>
        </p:txBody>
      </p:sp>
    </p:spTree>
    <p:extLst>
      <p:ext uri="{BB962C8B-B14F-4D97-AF65-F5344CB8AC3E}">
        <p14:creationId xmlns:p14="http://schemas.microsoft.com/office/powerpoint/2010/main" val="3205334182"/>
      </p:ext>
    </p:extLst>
  </p:cSld>
  <p:clrMap bg1="lt1" tx1="dk1" bg2="lt2" tx2="dk2" accent1="accent1" accent2="accent2" accent3="accent3" accent4="accent4" accent5="accent5" accent6="accent6" hlink="hlink" folHlink="folHlink"/>
  <p:sldLayoutIdLst>
    <p:sldLayoutId id="2147483742" r:id="rId1"/>
    <p:sldLayoutId id="2147483745" r:id="rId2"/>
    <p:sldLayoutId id="2147483744" r:id="rId3"/>
    <p:sldLayoutId id="2147483758" r:id="rId4"/>
    <p:sldLayoutId id="2147483743" r:id="rId5"/>
  </p:sldLayoutIdLst>
  <p:hf sldNum="0" hdr="0" ftr="0" dt="0"/>
  <p:txStyles>
    <p:titleStyle>
      <a:lvl1pPr marL="0" indent="0" algn="l" defTabSz="914400" rtl="0" eaLnBrk="1" latinLnBrk="0" hangingPunct="1">
        <a:lnSpc>
          <a:spcPct val="90000"/>
        </a:lnSpc>
        <a:spcBef>
          <a:spcPts val="1000"/>
        </a:spcBef>
        <a:spcAft>
          <a:spcPts val="0"/>
        </a:spcAft>
        <a:buNone/>
        <a:defRPr sz="2800" b="1" i="0" u="none" kern="1200" spc="0">
          <a:solidFill>
            <a:schemeClr val="tx2">
              <a:lumMod val="100000"/>
            </a:schemeClr>
          </a:solidFill>
          <a:latin typeface="+mn-lt"/>
          <a:ea typeface="+mj-ea"/>
          <a:cs typeface="+mj-cs"/>
        </a:defRPr>
      </a:lvl1pPr>
    </p:titleStyle>
    <p:bodyStyle>
      <a:lvl1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None/>
        <a:defRPr sz="2400" kern="1200">
          <a:solidFill>
            <a:schemeClr val="tx1"/>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5pPr>
      <a:lvl6pPr marL="90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mn-cs"/>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2" pos="448" userDrawn="1">
          <p15:clr>
            <a:srgbClr val="A4A3A4"/>
          </p15:clr>
        </p15:guide>
        <p15:guide id="33" pos="7232" userDrawn="1">
          <p15:clr>
            <a:srgbClr val="A4A3A4"/>
          </p15:clr>
        </p15:guide>
        <p15:guide id="34" orient="horz" pos="3936" userDrawn="1">
          <p15:clr>
            <a:srgbClr val="A4A3A4"/>
          </p15:clr>
        </p15:guide>
        <p15:guide id="35" orient="horz" pos="672"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C7E0304-580A-4342-1AB9-A096325A6018}"/>
              </a:ext>
            </a:extLst>
          </p:cNvPr>
          <p:cNvGraphicFramePr>
            <a:graphicFrameLocks noChangeAspect="1"/>
          </p:cNvGraphicFramePr>
          <p:nvPr userDrawn="1">
            <p:custDataLst>
              <p:tags r:id="rId7"/>
            </p:custDataLst>
            <p:extLst>
              <p:ext uri="{D42A27DB-BD31-4B8C-83A1-F6EECF244321}">
                <p14:modId xmlns:p14="http://schemas.microsoft.com/office/powerpoint/2010/main" val="1236463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9" name="think-cell data - do not delete" hidden="1">
                        <a:extLst>
                          <a:ext uri="{FF2B5EF4-FFF2-40B4-BE49-F238E27FC236}">
                            <a16:creationId xmlns:a16="http://schemas.microsoft.com/office/drawing/2014/main" id="{7C7E0304-580A-4342-1AB9-A096325A601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Прямоугольник 10">
            <a:extLst>
              <a:ext uri="{FF2B5EF4-FFF2-40B4-BE49-F238E27FC236}">
                <a16:creationId xmlns:a16="http://schemas.microsoft.com/office/drawing/2014/main" id="{DFEE998C-652A-FB4A-B8C6-FB974D2D2C91}"/>
              </a:ext>
            </a:extLst>
          </p:cNvPr>
          <p:cNvSpPr/>
          <p:nvPr userDrawn="1"/>
        </p:nvSpPr>
        <p:spPr>
          <a:xfrm>
            <a:off x="11480800" y="268160"/>
            <a:ext cx="711200" cy="276999"/>
          </a:xfrm>
          <a:prstGeom prst="rect">
            <a:avLst/>
          </a:prstGeom>
        </p:spPr>
        <p:txBody>
          <a:bodyPr wrap="square" anchor="ctr" anchorCtr="0">
            <a:spAutoFit/>
          </a:bodyPr>
          <a:lstStyle/>
          <a:p>
            <a:pPr algn="ctr"/>
            <a:fld id="{149B6D55-4680-4DC5-B665-330CCBA60EFE}" type="slidenum">
              <a:rPr lang="ru-RU" sz="1200" b="1" i="0" baseline="0" smtClean="0">
                <a:solidFill>
                  <a:schemeClr val="bg1">
                    <a:lumMod val="65000"/>
                  </a:schemeClr>
                </a:solidFill>
                <a:latin typeface="Arial" panose="020B0604020202020204" pitchFamily="34" charset="0"/>
                <a:ea typeface="Lato" panose="020F0502020204030203" pitchFamily="34" charset="0"/>
                <a:cs typeface="Arial" panose="020B0604020202020204" pitchFamily="34" charset="0"/>
              </a:rPr>
              <a:pPr algn="ctr"/>
              <a:t>‹#›</a:t>
            </a:fld>
            <a:endParaRPr lang="ru-RU" sz="1200" b="1" i="0">
              <a:solidFill>
                <a:schemeClr val="bg1">
                  <a:lumMod val="65000"/>
                </a:schemeClr>
              </a:solidFill>
              <a:latin typeface="Arial" panose="020B0604020202020204" pitchFamily="34" charset="0"/>
              <a:ea typeface="Lato" panose="020F0502020204030203" pitchFamily="34" charset="0"/>
              <a:cs typeface="Arial" panose="020B0604020202020204" pitchFamily="34" charset="0"/>
            </a:endParaRPr>
          </a:p>
        </p:txBody>
      </p:sp>
      <p:cxnSp>
        <p:nvCxnSpPr>
          <p:cNvPr id="11" name="Прямая соединительная линия 16">
            <a:extLst>
              <a:ext uri="{FF2B5EF4-FFF2-40B4-BE49-F238E27FC236}">
                <a16:creationId xmlns:a16="http://schemas.microsoft.com/office/drawing/2014/main" id="{5273441F-C595-8741-BC75-08C6BF8FAD8A}"/>
              </a:ext>
            </a:extLst>
          </p:cNvPr>
          <p:cNvCxnSpPr/>
          <p:nvPr userDrawn="1"/>
        </p:nvCxnSpPr>
        <p:spPr>
          <a:xfrm flipH="1">
            <a:off x="11834692" y="609601"/>
            <a:ext cx="3416" cy="47223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7E5E36D1-483E-894F-A4C4-4A9A81664319}"/>
              </a:ext>
            </a:extLst>
          </p:cNvPr>
          <p:cNvSpPr/>
          <p:nvPr userDrawn="1"/>
        </p:nvSpPr>
        <p:spPr>
          <a:xfrm>
            <a:off x="0" y="6248400"/>
            <a:ext cx="12192000"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 name="Title Placeholder 2"/>
          <p:cNvSpPr>
            <a:spLocks noGrp="1"/>
          </p:cNvSpPr>
          <p:nvPr>
            <p:ph type="title"/>
          </p:nvPr>
        </p:nvSpPr>
        <p:spPr>
          <a:xfrm>
            <a:off x="353892" y="382589"/>
            <a:ext cx="11126908" cy="350837"/>
          </a:xfrm>
          <a:prstGeom prst="rect">
            <a:avLst/>
          </a:prstGeom>
        </p:spPr>
        <p:txBody>
          <a:bodyPr vert="horz" wrap="square" lIns="0" tIns="0" rIns="0" bIns="0" rtlCol="0" anchor="t" anchorCtr="0">
            <a:noAutofit/>
          </a:bodyPr>
          <a:lstStyle/>
          <a:p>
            <a:pPr lvl="0"/>
            <a:r>
              <a:rPr lang="en-US" b="1"/>
              <a:t>Title (try to keep this to one line)</a:t>
            </a:r>
            <a:endParaRPr lang="en-US"/>
          </a:p>
        </p:txBody>
      </p:sp>
      <p:sp>
        <p:nvSpPr>
          <p:cNvPr id="4" name="Text Placeholder 3"/>
          <p:cNvSpPr>
            <a:spLocks noGrp="1"/>
          </p:cNvSpPr>
          <p:nvPr>
            <p:ph type="body" idx="1"/>
          </p:nvPr>
        </p:nvSpPr>
        <p:spPr>
          <a:xfrm>
            <a:off x="353892" y="1447801"/>
            <a:ext cx="11126908" cy="479066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pic>
        <p:nvPicPr>
          <p:cNvPr id="10" name="Picture 2" descr="Holdsworth Educator Retreat">
            <a:extLst>
              <a:ext uri="{FF2B5EF4-FFF2-40B4-BE49-F238E27FC236}">
                <a16:creationId xmlns:a16="http://schemas.microsoft.com/office/drawing/2014/main" id="{48D45F79-5CA2-5444-38ED-79913FC19C2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55600" y="6370320"/>
            <a:ext cx="2057400" cy="27432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704064D-A786-3F91-7505-25A5D4607AF7}"/>
              </a:ext>
            </a:extLst>
          </p:cNvPr>
          <p:cNvSpPr txBox="1"/>
          <p:nvPr userDrawn="1"/>
        </p:nvSpPr>
        <p:spPr>
          <a:xfrm>
            <a:off x="10326246" y="6514569"/>
            <a:ext cx="1522854" cy="138499"/>
          </a:xfrm>
          <a:prstGeom prst="rect">
            <a:avLst/>
          </a:prstGeom>
          <a:noFill/>
        </p:spPr>
        <p:txBody>
          <a:bodyPr wrap="none" lIns="0" tIns="0" rIns="0" bIns="0" rtlCol="0">
            <a:spAutoFit/>
          </a:bodyPr>
          <a:lstStyle/>
          <a:p>
            <a:pPr algn="r"/>
            <a:r>
              <a:rPr lang="en-US" sz="900" b="0" i="0" dirty="0">
                <a:solidFill>
                  <a:schemeClr val="tx1"/>
                </a:solidFill>
                <a:latin typeface="Gill Sans Nova SemiBold" panose="020B0502020204020203" pitchFamily="34" charset="0"/>
                <a:ea typeface="Lato" panose="020F0502020204030203" pitchFamily="34" charset="0"/>
                <a:cs typeface="Poppins SemiBold" panose="02000000000000000000" pitchFamily="2" charset="0"/>
              </a:rPr>
              <a:t>© The Holdsworth Center 2024</a:t>
            </a:r>
            <a:endParaRPr lang="ru-RU" sz="600" b="0" i="0" dirty="0">
              <a:solidFill>
                <a:schemeClr val="tx1"/>
              </a:solidFill>
              <a:latin typeface="Gill Sans Nova SemiBold" panose="020B0502020204020203" pitchFamily="34" charset="0"/>
              <a:ea typeface="Lato" panose="020F0502020204030203" pitchFamily="34" charset="0"/>
              <a:cs typeface="Poppins SemiBold" panose="02000000000000000000" pitchFamily="2" charset="0"/>
            </a:endParaRPr>
          </a:p>
        </p:txBody>
      </p:sp>
    </p:spTree>
    <p:extLst>
      <p:ext uri="{BB962C8B-B14F-4D97-AF65-F5344CB8AC3E}">
        <p14:creationId xmlns:p14="http://schemas.microsoft.com/office/powerpoint/2010/main" val="1176593510"/>
      </p:ext>
    </p:extLst>
  </p:cSld>
  <p:clrMap bg1="lt1" tx1="dk1" bg2="lt2" tx2="dk2" accent1="accent1" accent2="accent2" accent3="accent3" accent4="accent4" accent5="accent5" accent6="accent6" hlink="hlink" folHlink="folHlink"/>
  <p:sldLayoutIdLst>
    <p:sldLayoutId id="2147483704" r:id="rId1"/>
    <p:sldLayoutId id="2147483761" r:id="rId2"/>
    <p:sldLayoutId id="2147483762" r:id="rId3"/>
    <p:sldLayoutId id="2147483706" r:id="rId4"/>
    <p:sldLayoutId id="2147483763" r:id="rId5"/>
  </p:sldLayoutIdLst>
  <p:hf sldNum="0" hdr="0" ftr="0" dt="0"/>
  <p:txStyles>
    <p:titleStyle>
      <a:lvl1pPr marL="0" indent="0" algn="l" defTabSz="914400" rtl="0" eaLnBrk="1" latinLnBrk="0" hangingPunct="1">
        <a:lnSpc>
          <a:spcPct val="90000"/>
        </a:lnSpc>
        <a:spcBef>
          <a:spcPts val="1000"/>
        </a:spcBef>
        <a:spcAft>
          <a:spcPts val="0"/>
        </a:spcAft>
        <a:buNone/>
        <a:defRPr sz="2800" b="1" i="0" u="none" kern="1200" spc="0">
          <a:solidFill>
            <a:schemeClr val="tx2">
              <a:lumMod val="100000"/>
            </a:schemeClr>
          </a:solidFill>
          <a:latin typeface="+mn-lt"/>
          <a:ea typeface="+mj-ea"/>
          <a:cs typeface="Arial" panose="020B0604020202020204" pitchFamily="34" charset="0"/>
        </a:defRPr>
      </a:lvl1pPr>
    </p:titleStyle>
    <p:bodyStyle>
      <a:lvl1pPr marL="0" indent="0" algn="l" defTabSz="914400" rtl="0" eaLnBrk="1" latinLnBrk="0" hangingPunct="1">
        <a:lnSpc>
          <a:spcPct val="100000"/>
        </a:lnSpc>
        <a:spcBef>
          <a:spcPts val="100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2" pos="448" userDrawn="1">
          <p15:clr>
            <a:srgbClr val="A4A3A4"/>
          </p15:clr>
        </p15:guide>
        <p15:guide id="33" pos="7232" userDrawn="1">
          <p15:clr>
            <a:srgbClr val="A4A3A4"/>
          </p15:clr>
        </p15:guide>
        <p15:guide id="48" orient="horz" pos="3936" userDrawn="1">
          <p15:clr>
            <a:srgbClr val="A4A3A4"/>
          </p15:clr>
        </p15:guide>
        <p15:guide id="51" orient="horz" pos="672"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xml"/><Relationship Id="rId1" Type="http://schemas.openxmlformats.org/officeDocument/2006/relationships/tags" Target="../tags/tag37.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111.xml"/><Relationship Id="rId5" Type="http://schemas.openxmlformats.org/officeDocument/2006/relationships/image" Target="../media/image21.jp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tags" Target="../tags/tag112.xml"/><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117.xml"/><Relationship Id="rId7" Type="http://schemas.openxmlformats.org/officeDocument/2006/relationships/slideLayout" Target="../slideLayouts/slideLayout13.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image" Target="../media/image23.svg"/><Relationship Id="rId5" Type="http://schemas.openxmlformats.org/officeDocument/2006/relationships/tags" Target="../tags/tag119.xml"/><Relationship Id="rId10" Type="http://schemas.openxmlformats.org/officeDocument/2006/relationships/image" Target="../media/image22.png"/><Relationship Id="rId4" Type="http://schemas.openxmlformats.org/officeDocument/2006/relationships/tags" Target="../tags/tag118.xml"/><Relationship Id="rId9"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10.xml"/><Relationship Id="rId1" Type="http://schemas.openxmlformats.org/officeDocument/2006/relationships/tags" Target="../tags/tag121.xml"/><Relationship Id="rId5" Type="http://schemas.openxmlformats.org/officeDocument/2006/relationships/image" Target="../media/image24.tmp"/><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5.bin"/><Relationship Id="rId7" Type="http://schemas.openxmlformats.org/officeDocument/2006/relationships/image" Target="../media/image27.tmp"/><Relationship Id="rId2" Type="http://schemas.openxmlformats.org/officeDocument/2006/relationships/slideLayout" Target="../slideLayouts/slideLayout10.xml"/><Relationship Id="rId1" Type="http://schemas.openxmlformats.org/officeDocument/2006/relationships/tags" Target="../tags/tag122.xml"/><Relationship Id="rId6" Type="http://schemas.openxmlformats.org/officeDocument/2006/relationships/image" Target="../media/image26.tmp"/><Relationship Id="rId5" Type="http://schemas.openxmlformats.org/officeDocument/2006/relationships/image" Target="../media/image25.tmp"/><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13.xml"/><Relationship Id="rId1" Type="http://schemas.openxmlformats.org/officeDocument/2006/relationships/tags" Target="../tags/tag123.xml"/><Relationship Id="rId5" Type="http://schemas.openxmlformats.org/officeDocument/2006/relationships/image" Target="../media/image28.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13.xml"/><Relationship Id="rId1" Type="http://schemas.openxmlformats.org/officeDocument/2006/relationships/tags" Target="../tags/tag124.xml"/><Relationship Id="rId5" Type="http://schemas.openxmlformats.org/officeDocument/2006/relationships/image" Target="../media/image29.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13.xml"/><Relationship Id="rId1" Type="http://schemas.openxmlformats.org/officeDocument/2006/relationships/tags" Target="../tags/tag125.xml"/><Relationship Id="rId5" Type="http://schemas.openxmlformats.org/officeDocument/2006/relationships/image" Target="../media/image30.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13.xml"/><Relationship Id="rId1" Type="http://schemas.openxmlformats.org/officeDocument/2006/relationships/tags" Target="../tags/tag126.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0.xml"/><Relationship Id="rId1" Type="http://schemas.openxmlformats.org/officeDocument/2006/relationships/tags" Target="../tags/tag38.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13.xml"/><Relationship Id="rId1" Type="http://schemas.openxmlformats.org/officeDocument/2006/relationships/tags" Target="../tags/tag127.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4"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133.xml"/><Relationship Id="rId7" Type="http://schemas.openxmlformats.org/officeDocument/2006/relationships/slideLayout" Target="../slideLayouts/slideLayout13.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11" Type="http://schemas.openxmlformats.org/officeDocument/2006/relationships/image" Target="../media/image23.svg"/><Relationship Id="rId5" Type="http://schemas.openxmlformats.org/officeDocument/2006/relationships/tags" Target="../tags/tag135.xml"/><Relationship Id="rId10" Type="http://schemas.openxmlformats.org/officeDocument/2006/relationships/image" Target="../media/image22.png"/><Relationship Id="rId4" Type="http://schemas.openxmlformats.org/officeDocument/2006/relationships/tags" Target="../tags/tag134.xml"/><Relationship Id="rId9"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3.xml"/><Relationship Id="rId1" Type="http://schemas.openxmlformats.org/officeDocument/2006/relationships/tags" Target="../tags/tag137.xml"/><Relationship Id="rId5" Type="http://schemas.openxmlformats.org/officeDocument/2006/relationships/image" Target="../media/image24.tmp"/><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13.xml"/><Relationship Id="rId1" Type="http://schemas.openxmlformats.org/officeDocument/2006/relationships/tags" Target="../tags/tag138.xml"/><Relationship Id="rId5" Type="http://schemas.openxmlformats.org/officeDocument/2006/relationships/image" Target="../media/image31.tmp"/><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13.xml"/><Relationship Id="rId1" Type="http://schemas.openxmlformats.org/officeDocument/2006/relationships/tags" Target="../tags/tag139.xml"/><Relationship Id="rId5" Type="http://schemas.openxmlformats.org/officeDocument/2006/relationships/image" Target="../media/image31.tmp"/><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4.jpg"/><Relationship Id="rId2" Type="http://schemas.openxmlformats.org/officeDocument/2006/relationships/slideLayout" Target="../slideLayouts/slideLayout13.xml"/><Relationship Id="rId1" Type="http://schemas.openxmlformats.org/officeDocument/2006/relationships/tags" Target="../tags/tag140.x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13.xml"/><Relationship Id="rId1" Type="http://schemas.openxmlformats.org/officeDocument/2006/relationships/tags" Target="../tags/tag141.xml"/><Relationship Id="rId5" Type="http://schemas.openxmlformats.org/officeDocument/2006/relationships/image" Target="../media/image35.tmp"/><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13.xml"/><Relationship Id="rId1" Type="http://schemas.openxmlformats.org/officeDocument/2006/relationships/tags" Target="../tags/tag142.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slideLayout" Target="../slideLayouts/slideLayout12.xml"/><Relationship Id="rId3" Type="http://schemas.openxmlformats.org/officeDocument/2006/relationships/tags" Target="../tags/tag41.xml"/><Relationship Id="rId21" Type="http://schemas.openxmlformats.org/officeDocument/2006/relationships/image" Target="../media/image3.emf"/><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slide" Target="slide5.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oleObject" Target="../embeddings/oleObject36.bin"/><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slide" Target="slide15.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slide" Target="slide18.xml"/><Relationship Id="rId10" Type="http://schemas.openxmlformats.org/officeDocument/2006/relationships/tags" Target="../tags/tag48.xml"/><Relationship Id="rId19" Type="http://schemas.openxmlformats.org/officeDocument/2006/relationships/notesSlide" Target="../notesSlides/notesSlide1.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slide" Target="slide19.xml"/></Relationships>
</file>

<file path=ppt/slides/_rels/slide30.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tags" Target="../tags/tag143.xml"/><Relationship Id="rId4"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148.xml"/><Relationship Id="rId7" Type="http://schemas.openxmlformats.org/officeDocument/2006/relationships/slideLayout" Target="../slideLayouts/slideLayout13.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image" Target="../media/image23.svg"/><Relationship Id="rId5" Type="http://schemas.openxmlformats.org/officeDocument/2006/relationships/tags" Target="../tags/tag150.xml"/><Relationship Id="rId10" Type="http://schemas.openxmlformats.org/officeDocument/2006/relationships/image" Target="../media/image22.png"/><Relationship Id="rId4" Type="http://schemas.openxmlformats.org/officeDocument/2006/relationships/tags" Target="../tags/tag149.xml"/><Relationship Id="rId9"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13.xml"/><Relationship Id="rId1" Type="http://schemas.openxmlformats.org/officeDocument/2006/relationships/tags" Target="../tags/tag152.xml"/><Relationship Id="rId5" Type="http://schemas.openxmlformats.org/officeDocument/2006/relationships/image" Target="../media/image36.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13.xml"/><Relationship Id="rId1" Type="http://schemas.openxmlformats.org/officeDocument/2006/relationships/tags" Target="../tags/tag153.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13.xml"/><Relationship Id="rId1" Type="http://schemas.openxmlformats.org/officeDocument/2006/relationships/tags" Target="../tags/tag154.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10.xml"/><Relationship Id="rId1" Type="http://schemas.openxmlformats.org/officeDocument/2006/relationships/tags" Target="../tags/tag155.xml"/><Relationship Id="rId5" Type="http://schemas.openxmlformats.org/officeDocument/2006/relationships/image" Target="../media/image37.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10.xml"/><Relationship Id="rId1" Type="http://schemas.openxmlformats.org/officeDocument/2006/relationships/tags" Target="../tags/tag156.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64.bin"/><Relationship Id="rId7" Type="http://schemas.openxmlformats.org/officeDocument/2006/relationships/hyperlink" Target="https://holdsworthcenter.org/" TargetMode="External"/><Relationship Id="rId2" Type="http://schemas.openxmlformats.org/officeDocument/2006/relationships/slideLayout" Target="../slideLayouts/slideLayout10.xml"/><Relationship Id="rId1" Type="http://schemas.openxmlformats.org/officeDocument/2006/relationships/tags" Target="../tags/tag15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oleObject" Target="../embeddings/oleObject37.bin"/><Relationship Id="rId5" Type="http://schemas.openxmlformats.org/officeDocument/2006/relationships/slideLayout" Target="../slideLayouts/slideLayout10.xml"/><Relationship Id="rId4" Type="http://schemas.openxmlformats.org/officeDocument/2006/relationships/tags" Target="../tags/tag59.xml"/></Relationships>
</file>

<file path=ppt/slides/_rels/slide6.xml.rels><?xml version="1.0" encoding="UTF-8" standalone="yes"?>
<Relationships xmlns="http://schemas.openxmlformats.org/package/2006/relationships"><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tags" Target="../tags/tag85.xml"/><Relationship Id="rId39" Type="http://schemas.openxmlformats.org/officeDocument/2006/relationships/tags" Target="../tags/tag98.xml"/><Relationship Id="rId21" Type="http://schemas.openxmlformats.org/officeDocument/2006/relationships/tags" Target="../tags/tag80.xml"/><Relationship Id="rId34" Type="http://schemas.openxmlformats.org/officeDocument/2006/relationships/tags" Target="../tags/tag93.xml"/><Relationship Id="rId42" Type="http://schemas.openxmlformats.org/officeDocument/2006/relationships/tags" Target="../tags/tag101.xml"/><Relationship Id="rId47" Type="http://schemas.openxmlformats.org/officeDocument/2006/relationships/oleObject" Target="../embeddings/oleObject38.bin"/><Relationship Id="rId7" Type="http://schemas.openxmlformats.org/officeDocument/2006/relationships/tags" Target="../tags/tag66.xml"/><Relationship Id="rId2" Type="http://schemas.openxmlformats.org/officeDocument/2006/relationships/tags" Target="../tags/tag61.xml"/><Relationship Id="rId16" Type="http://schemas.openxmlformats.org/officeDocument/2006/relationships/tags" Target="../tags/tag75.xml"/><Relationship Id="rId29" Type="http://schemas.openxmlformats.org/officeDocument/2006/relationships/tags" Target="../tags/tag88.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tags" Target="../tags/tag91.xml"/><Relationship Id="rId37" Type="http://schemas.openxmlformats.org/officeDocument/2006/relationships/tags" Target="../tags/tag96.xml"/><Relationship Id="rId40" Type="http://schemas.openxmlformats.org/officeDocument/2006/relationships/tags" Target="../tags/tag99.xml"/><Relationship Id="rId45" Type="http://schemas.openxmlformats.org/officeDocument/2006/relationships/tags" Target="../tags/tag104.xml"/><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tags" Target="../tags/tag87.xml"/><Relationship Id="rId36" Type="http://schemas.openxmlformats.org/officeDocument/2006/relationships/tags" Target="../tags/tag95.xml"/><Relationship Id="rId10" Type="http://schemas.openxmlformats.org/officeDocument/2006/relationships/tags" Target="../tags/tag69.xml"/><Relationship Id="rId19" Type="http://schemas.openxmlformats.org/officeDocument/2006/relationships/tags" Target="../tags/tag78.xml"/><Relationship Id="rId31" Type="http://schemas.openxmlformats.org/officeDocument/2006/relationships/tags" Target="../tags/tag90.xml"/><Relationship Id="rId44" Type="http://schemas.openxmlformats.org/officeDocument/2006/relationships/tags" Target="../tags/tag103.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tags" Target="../tags/tag86.xml"/><Relationship Id="rId30" Type="http://schemas.openxmlformats.org/officeDocument/2006/relationships/tags" Target="../tags/tag89.xml"/><Relationship Id="rId35" Type="http://schemas.openxmlformats.org/officeDocument/2006/relationships/tags" Target="../tags/tag94.xml"/><Relationship Id="rId43" Type="http://schemas.openxmlformats.org/officeDocument/2006/relationships/tags" Target="../tags/tag102.xml"/><Relationship Id="rId48" Type="http://schemas.openxmlformats.org/officeDocument/2006/relationships/image" Target="../media/image1.emf"/><Relationship Id="rId8" Type="http://schemas.openxmlformats.org/officeDocument/2006/relationships/tags" Target="../tags/tag67.xml"/><Relationship Id="rId3" Type="http://schemas.openxmlformats.org/officeDocument/2006/relationships/tags" Target="../tags/tag62.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tags" Target="../tags/tag92.xml"/><Relationship Id="rId38" Type="http://schemas.openxmlformats.org/officeDocument/2006/relationships/tags" Target="../tags/tag97.xml"/><Relationship Id="rId46" Type="http://schemas.openxmlformats.org/officeDocument/2006/relationships/slideLayout" Target="../slideLayouts/slideLayout12.xml"/><Relationship Id="rId20" Type="http://schemas.openxmlformats.org/officeDocument/2006/relationships/tags" Target="../tags/tag79.xml"/><Relationship Id="rId41" Type="http://schemas.openxmlformats.org/officeDocument/2006/relationships/tags" Target="../tags/tag100.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2.xml"/><Relationship Id="rId7" Type="http://schemas.openxmlformats.org/officeDocument/2006/relationships/image" Target="../media/image5.png"/><Relationship Id="rId2" Type="http://schemas.openxmlformats.org/officeDocument/2006/relationships/slideLayout" Target="../slideLayouts/slideLayout10.xml"/><Relationship Id="rId1" Type="http://schemas.openxmlformats.org/officeDocument/2006/relationships/tags" Target="../tags/tag105.xml"/><Relationship Id="rId6"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39.bin"/><Relationship Id="rId9" Type="http://schemas.openxmlformats.org/officeDocument/2006/relationships/image" Target="../media/image7.png"/></Relationships>
</file>

<file path=ppt/slides/_rels/slide8.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oleObject" Target="../embeddings/oleObject40.bin"/><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slideLayout" Target="../slideLayouts/slideLayout10.xml"/><Relationship Id="rId16" Type="http://schemas.openxmlformats.org/officeDocument/2006/relationships/image" Target="../media/image20.svg"/><Relationship Id="rId1" Type="http://schemas.openxmlformats.org/officeDocument/2006/relationships/tags" Target="../tags/tag106.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svg"/><Relationship Id="rId4" Type="http://schemas.openxmlformats.org/officeDocument/2006/relationships/image" Target="../media/image1.emf"/><Relationship Id="rId9" Type="http://schemas.openxmlformats.org/officeDocument/2006/relationships/image" Target="../media/image13.png"/><Relationship Id="rId14" Type="http://schemas.openxmlformats.org/officeDocument/2006/relationships/image" Target="../media/image18.svg"/></Relationships>
</file>

<file path=ppt/slides/_rels/slide9.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oleObject" Target="../embeddings/oleObject41.bin"/><Relationship Id="rId5" Type="http://schemas.openxmlformats.org/officeDocument/2006/relationships/slideLayout" Target="../slideLayouts/slideLayout10.xml"/><Relationship Id="rId4" Type="http://schemas.openxmlformats.org/officeDocument/2006/relationships/tags" Target="../tags/tag1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126B3F7-3674-F1AC-7BDD-FF42B80B2210}"/>
              </a:ext>
            </a:extLst>
          </p:cNvPr>
          <p:cNvGraphicFramePr>
            <a:graphicFrameLocks noChangeAspect="1"/>
          </p:cNvGraphicFramePr>
          <p:nvPr>
            <p:custDataLst>
              <p:tags r:id="rId1"/>
            </p:custDataLst>
            <p:extLst>
              <p:ext uri="{D42A27DB-BD31-4B8C-83A1-F6EECF244321}">
                <p14:modId xmlns:p14="http://schemas.microsoft.com/office/powerpoint/2010/main" val="4135956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4126B3F7-3674-F1AC-7BDD-FF42B80B22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9E795A-D5CA-ADC2-1963-736ADA7DF9B2}"/>
              </a:ext>
            </a:extLst>
          </p:cNvPr>
          <p:cNvSpPr>
            <a:spLocks noGrp="1"/>
          </p:cNvSpPr>
          <p:nvPr>
            <p:ph type="title"/>
          </p:nvPr>
        </p:nvSpPr>
        <p:spPr>
          <a:xfrm>
            <a:off x="355600" y="457200"/>
            <a:ext cx="10312400" cy="631263"/>
          </a:xfrm>
        </p:spPr>
        <p:txBody>
          <a:bodyPr vert="horz"/>
          <a:lstStyle/>
          <a:p>
            <a:r>
              <a:rPr lang="en-US" dirty="0"/>
              <a:t>The Leadership Portal</a:t>
            </a:r>
          </a:p>
        </p:txBody>
      </p:sp>
      <p:sp>
        <p:nvSpPr>
          <p:cNvPr id="4" name="Text Placeholder 3">
            <a:extLst>
              <a:ext uri="{FF2B5EF4-FFF2-40B4-BE49-F238E27FC236}">
                <a16:creationId xmlns:a16="http://schemas.microsoft.com/office/drawing/2014/main" id="{C2D82213-09C2-736E-DADA-CBE79BD4103A}"/>
              </a:ext>
            </a:extLst>
          </p:cNvPr>
          <p:cNvSpPr>
            <a:spLocks noGrp="1"/>
          </p:cNvSpPr>
          <p:nvPr>
            <p:ph type="body" sz="quarter" idx="13"/>
          </p:nvPr>
        </p:nvSpPr>
        <p:spPr>
          <a:xfrm>
            <a:off x="355600" y="1086117"/>
            <a:ext cx="10312400" cy="560538"/>
          </a:xfrm>
        </p:spPr>
        <p:txBody>
          <a:bodyPr/>
          <a:lstStyle/>
          <a:p>
            <a:r>
              <a:rPr lang="en-US" dirty="0"/>
              <a:t>Toolkit for Vacancy Planning</a:t>
            </a:r>
          </a:p>
        </p:txBody>
      </p:sp>
      <p:sp>
        <p:nvSpPr>
          <p:cNvPr id="7" name="Text Placeholder 6">
            <a:extLst>
              <a:ext uri="{FF2B5EF4-FFF2-40B4-BE49-F238E27FC236}">
                <a16:creationId xmlns:a16="http://schemas.microsoft.com/office/drawing/2014/main" id="{B3789F19-2884-F814-A03C-83E6A9E7030C}"/>
              </a:ext>
            </a:extLst>
          </p:cNvPr>
          <p:cNvSpPr>
            <a:spLocks noGrp="1"/>
          </p:cNvSpPr>
          <p:nvPr>
            <p:ph type="body" sz="quarter" idx="12"/>
          </p:nvPr>
        </p:nvSpPr>
        <p:spPr/>
        <p:txBody>
          <a:bodyPr/>
          <a:lstStyle/>
          <a:p>
            <a:r>
              <a:rPr lang="en-US" dirty="0">
                <a:solidFill>
                  <a:schemeClr val="accent1"/>
                </a:solidFill>
              </a:rPr>
              <a:t>Produced in partnership with the Michael and Susan Dell Foundation</a:t>
            </a:r>
          </a:p>
        </p:txBody>
      </p:sp>
    </p:spTree>
    <p:extLst>
      <p:ext uri="{BB962C8B-B14F-4D97-AF65-F5344CB8AC3E}">
        <p14:creationId xmlns:p14="http://schemas.microsoft.com/office/powerpoint/2010/main" val="26831694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3BBFE4A-22C3-EF12-6416-F7DFEDBD498B}"/>
              </a:ext>
            </a:extLst>
          </p:cNvPr>
          <p:cNvGraphicFramePr>
            <a:graphicFrameLocks noChangeAspect="1"/>
          </p:cNvGraphicFramePr>
          <p:nvPr>
            <p:custDataLst>
              <p:tags r:id="rId1"/>
            </p:custDataLst>
            <p:extLst>
              <p:ext uri="{D42A27DB-BD31-4B8C-83A1-F6EECF244321}">
                <p14:modId xmlns:p14="http://schemas.microsoft.com/office/powerpoint/2010/main" val="3055909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03BBFE4A-22C3-EF12-6416-F7DFEDBD49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5" name="Picture Placeholder 34" descr="A person holding a stick in front of a chart&#10;&#10;Description automatically generated">
            <a:extLst>
              <a:ext uri="{FF2B5EF4-FFF2-40B4-BE49-F238E27FC236}">
                <a16:creationId xmlns:a16="http://schemas.microsoft.com/office/drawing/2014/main" id="{72B110C3-0740-2394-6A0A-3964AF10AB1F}"/>
              </a:ext>
            </a:extLst>
          </p:cNvPr>
          <p:cNvPicPr>
            <a:picLocks noGrp="1" noChangeAspect="1"/>
          </p:cNvPicPr>
          <p:nvPr>
            <p:ph type="pic" sz="quarter" idx="10"/>
          </p:nvPr>
        </p:nvPicPr>
        <p:blipFill rotWithShape="1">
          <a:blip r:embed="rId5"/>
          <a:srcRect l="26389" r="8055"/>
          <a:stretch/>
        </p:blipFill>
        <p:spPr>
          <a:xfrm>
            <a:off x="6197601" y="0"/>
            <a:ext cx="5994399" cy="6248400"/>
          </a:xfrm>
        </p:spPr>
      </p:pic>
      <p:sp>
        <p:nvSpPr>
          <p:cNvPr id="3" name="Title 2">
            <a:extLst>
              <a:ext uri="{FF2B5EF4-FFF2-40B4-BE49-F238E27FC236}">
                <a16:creationId xmlns:a16="http://schemas.microsoft.com/office/drawing/2014/main" id="{11B4997E-420E-2EE6-0FF5-3CE8AF6BED21}"/>
              </a:ext>
            </a:extLst>
          </p:cNvPr>
          <p:cNvSpPr>
            <a:spLocks noGrp="1"/>
          </p:cNvSpPr>
          <p:nvPr>
            <p:ph type="title"/>
          </p:nvPr>
        </p:nvSpPr>
        <p:spPr>
          <a:xfrm>
            <a:off x="401782" y="1654475"/>
            <a:ext cx="5283200" cy="1774525"/>
          </a:xfrm>
        </p:spPr>
        <p:txBody>
          <a:bodyPr vert="horz"/>
          <a:lstStyle/>
          <a:p>
            <a:r>
              <a:rPr lang="en-US" sz="3200" i="1" dirty="0">
                <a:solidFill>
                  <a:schemeClr val="accent1"/>
                </a:solidFill>
              </a:rPr>
              <a:t>Let’s take a look at what this process could look like for your district</a:t>
            </a:r>
          </a:p>
        </p:txBody>
      </p:sp>
      <p:sp>
        <p:nvSpPr>
          <p:cNvPr id="6" name="TextBox 5">
            <a:extLst>
              <a:ext uri="{FF2B5EF4-FFF2-40B4-BE49-F238E27FC236}">
                <a16:creationId xmlns:a16="http://schemas.microsoft.com/office/drawing/2014/main" id="{8019752F-BD09-215A-7493-3E60A639B516}"/>
              </a:ext>
            </a:extLst>
          </p:cNvPr>
          <p:cNvSpPr txBox="1"/>
          <p:nvPr/>
        </p:nvSpPr>
        <p:spPr>
          <a:xfrm>
            <a:off x="1066800" y="4669181"/>
            <a:ext cx="5029200" cy="1200329"/>
          </a:xfrm>
          <a:prstGeom prst="rect">
            <a:avLst/>
          </a:prstGeom>
          <a:noFill/>
        </p:spPr>
        <p:txBody>
          <a:bodyPr wrap="square">
            <a:spAutoFit/>
          </a:bodyPr>
          <a:lstStyle/>
          <a:p>
            <a:r>
              <a:rPr lang="en-US" i="1" dirty="0">
                <a:solidFill>
                  <a:schemeClr val="bg1"/>
                </a:solidFill>
              </a:rPr>
              <a:t>Note: The slides that follow outline the process one might take to plan for principal vacancies. A similar process could be followed when planning for assistant principal vacancies or teacher leader positions</a:t>
            </a:r>
          </a:p>
        </p:txBody>
      </p:sp>
    </p:spTree>
    <p:extLst>
      <p:ext uri="{BB962C8B-B14F-4D97-AF65-F5344CB8AC3E}">
        <p14:creationId xmlns:p14="http://schemas.microsoft.com/office/powerpoint/2010/main" val="39785180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18EB5E-C9F5-7518-F5E8-7BF13D3D5333}"/>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816AC69A-6F53-7AD7-0B93-F85479E3EB2D}"/>
              </a:ext>
            </a:extLst>
          </p:cNvPr>
          <p:cNvSpPr>
            <a:spLocks noGrp="1"/>
          </p:cNvSpPr>
          <p:nvPr>
            <p:ph type="body" sz="quarter" idx="11"/>
          </p:nvPr>
        </p:nvSpPr>
        <p:spPr>
          <a:xfrm>
            <a:off x="711200" y="1447801"/>
            <a:ext cx="6197600" cy="1425327"/>
          </a:xfrm>
        </p:spPr>
        <p:txBody>
          <a:bodyPr/>
          <a:lstStyle/>
          <a:p>
            <a:r>
              <a:rPr lang="en-US" dirty="0"/>
              <a:t>Forecasting Campus Leadership Vacancies</a:t>
            </a:r>
          </a:p>
        </p:txBody>
      </p:sp>
      <p:sp>
        <p:nvSpPr>
          <p:cNvPr id="4" name="Content Placeholder 3">
            <a:extLst>
              <a:ext uri="{FF2B5EF4-FFF2-40B4-BE49-F238E27FC236}">
                <a16:creationId xmlns:a16="http://schemas.microsoft.com/office/drawing/2014/main" id="{1649EA9E-16F8-6168-11BC-99C84F29DCC3}"/>
              </a:ext>
            </a:extLst>
          </p:cNvPr>
          <p:cNvSpPr>
            <a:spLocks noGrp="1"/>
          </p:cNvSpPr>
          <p:nvPr>
            <p:ph sz="quarter" idx="13"/>
          </p:nvPr>
        </p:nvSpPr>
        <p:spPr/>
        <p:txBody>
          <a:bodyPr/>
          <a:lstStyle/>
          <a:p>
            <a:r>
              <a:rPr lang="en-US" dirty="0"/>
              <a:t>2</a:t>
            </a:r>
          </a:p>
        </p:txBody>
      </p:sp>
      <p:grpSp>
        <p:nvGrpSpPr>
          <p:cNvPr id="7" name="Group 6">
            <a:extLst>
              <a:ext uri="{FF2B5EF4-FFF2-40B4-BE49-F238E27FC236}">
                <a16:creationId xmlns:a16="http://schemas.microsoft.com/office/drawing/2014/main" id="{D89A2D2B-F19B-8E53-84DD-B8131BC6E196}"/>
              </a:ext>
            </a:extLst>
          </p:cNvPr>
          <p:cNvGrpSpPr/>
          <p:nvPr/>
        </p:nvGrpSpPr>
        <p:grpSpPr>
          <a:xfrm>
            <a:off x="2185062" y="2861857"/>
            <a:ext cx="2971289" cy="2912922"/>
            <a:chOff x="541641" y="571912"/>
            <a:chExt cx="5698201" cy="5586266"/>
          </a:xfrm>
        </p:grpSpPr>
        <p:sp>
          <p:nvSpPr>
            <p:cNvPr id="8" name="Freeform 3">
              <a:extLst>
                <a:ext uri="{FF2B5EF4-FFF2-40B4-BE49-F238E27FC236}">
                  <a16:creationId xmlns:a16="http://schemas.microsoft.com/office/drawing/2014/main" id="{52F7F2A7-1CFE-31DE-50BE-DB571E9E8ECB}"/>
                </a:ext>
              </a:extLst>
            </p:cNvPr>
            <p:cNvSpPr>
              <a:spLocks/>
            </p:cNvSpPr>
            <p:nvPr>
              <p:custDataLst>
                <p:tags r:id="rId1"/>
              </p:custDataLst>
            </p:nvPr>
          </p:nvSpPr>
          <p:spPr bwMode="auto">
            <a:xfrm rot="2315660">
              <a:off x="1295060" y="571912"/>
              <a:ext cx="2062496" cy="4156911"/>
            </a:xfrm>
            <a:custGeom>
              <a:avLst/>
              <a:gdLst>
                <a:gd name="T0" fmla="*/ 390 w 534"/>
                <a:gd name="T1" fmla="*/ 860 h 1099"/>
                <a:gd name="T2" fmla="*/ 375 w 534"/>
                <a:gd name="T3" fmla="*/ 840 h 1099"/>
                <a:gd name="T4" fmla="*/ 361 w 534"/>
                <a:gd name="T5" fmla="*/ 819 h 1099"/>
                <a:gd name="T6" fmla="*/ 349 w 534"/>
                <a:gd name="T7" fmla="*/ 797 h 1099"/>
                <a:gd name="T8" fmla="*/ 340 w 534"/>
                <a:gd name="T9" fmla="*/ 774 h 1099"/>
                <a:gd name="T10" fmla="*/ 332 w 534"/>
                <a:gd name="T11" fmla="*/ 751 h 1099"/>
                <a:gd name="T12" fmla="*/ 326 w 534"/>
                <a:gd name="T13" fmla="*/ 727 h 1099"/>
                <a:gd name="T14" fmla="*/ 321 w 534"/>
                <a:gd name="T15" fmla="*/ 702 h 1099"/>
                <a:gd name="T16" fmla="*/ 319 w 534"/>
                <a:gd name="T17" fmla="*/ 678 h 1099"/>
                <a:gd name="T18" fmla="*/ 319 w 534"/>
                <a:gd name="T19" fmla="*/ 653 h 1099"/>
                <a:gd name="T20" fmla="*/ 320 w 534"/>
                <a:gd name="T21" fmla="*/ 628 h 1099"/>
                <a:gd name="T22" fmla="*/ 324 w 534"/>
                <a:gd name="T23" fmla="*/ 603 h 1099"/>
                <a:gd name="T24" fmla="*/ 330 w 534"/>
                <a:gd name="T25" fmla="*/ 579 h 1099"/>
                <a:gd name="T26" fmla="*/ 337 w 534"/>
                <a:gd name="T27" fmla="*/ 554 h 1099"/>
                <a:gd name="T28" fmla="*/ 347 w 534"/>
                <a:gd name="T29" fmla="*/ 530 h 1099"/>
                <a:gd name="T30" fmla="*/ 359 w 534"/>
                <a:gd name="T31" fmla="*/ 507 h 1099"/>
                <a:gd name="T32" fmla="*/ 371 w 534"/>
                <a:gd name="T33" fmla="*/ 488 h 1099"/>
                <a:gd name="T34" fmla="*/ 383 w 534"/>
                <a:gd name="T35" fmla="*/ 472 h 1099"/>
                <a:gd name="T36" fmla="*/ 395 w 534"/>
                <a:gd name="T37" fmla="*/ 457 h 1099"/>
                <a:gd name="T38" fmla="*/ 408 w 534"/>
                <a:gd name="T39" fmla="*/ 443 h 1099"/>
                <a:gd name="T40" fmla="*/ 421 w 534"/>
                <a:gd name="T41" fmla="*/ 430 h 1099"/>
                <a:gd name="T42" fmla="*/ 435 w 534"/>
                <a:gd name="T43" fmla="*/ 418 h 1099"/>
                <a:gd name="T44" fmla="*/ 450 w 534"/>
                <a:gd name="T45" fmla="*/ 406 h 1099"/>
                <a:gd name="T46" fmla="*/ 465 w 534"/>
                <a:gd name="T47" fmla="*/ 396 h 1099"/>
                <a:gd name="T48" fmla="*/ 504 w 534"/>
                <a:gd name="T49" fmla="*/ 454 h 1099"/>
                <a:gd name="T50" fmla="*/ 329 w 534"/>
                <a:gd name="T51" fmla="*/ 0 h 1099"/>
                <a:gd name="T52" fmla="*/ 344 w 534"/>
                <a:gd name="T53" fmla="*/ 89 h 1099"/>
                <a:gd name="T54" fmla="*/ 305 w 534"/>
                <a:gd name="T55" fmla="*/ 111 h 1099"/>
                <a:gd name="T56" fmla="*/ 267 w 534"/>
                <a:gd name="T57" fmla="*/ 136 h 1099"/>
                <a:gd name="T58" fmla="*/ 231 w 534"/>
                <a:gd name="T59" fmla="*/ 164 h 1099"/>
                <a:gd name="T60" fmla="*/ 197 w 534"/>
                <a:gd name="T61" fmla="*/ 196 h 1099"/>
                <a:gd name="T62" fmla="*/ 165 w 534"/>
                <a:gd name="T63" fmla="*/ 229 h 1099"/>
                <a:gd name="T64" fmla="*/ 134 w 534"/>
                <a:gd name="T65" fmla="*/ 265 h 1099"/>
                <a:gd name="T66" fmla="*/ 107 w 534"/>
                <a:gd name="T67" fmla="*/ 303 h 1099"/>
                <a:gd name="T68" fmla="*/ 80 w 534"/>
                <a:gd name="T69" fmla="*/ 347 h 1099"/>
                <a:gd name="T70" fmla="*/ 55 w 534"/>
                <a:gd name="T71" fmla="*/ 395 h 1099"/>
                <a:gd name="T72" fmla="*/ 35 w 534"/>
                <a:gd name="T73" fmla="*/ 445 h 1099"/>
                <a:gd name="T74" fmla="*/ 20 w 534"/>
                <a:gd name="T75" fmla="*/ 496 h 1099"/>
                <a:gd name="T76" fmla="*/ 9 w 534"/>
                <a:gd name="T77" fmla="*/ 547 h 1099"/>
                <a:gd name="T78" fmla="*/ 2 w 534"/>
                <a:gd name="T79" fmla="*/ 599 h 1099"/>
                <a:gd name="T80" fmla="*/ 0 w 534"/>
                <a:gd name="T81" fmla="*/ 651 h 1099"/>
                <a:gd name="T82" fmla="*/ 2 w 534"/>
                <a:gd name="T83" fmla="*/ 702 h 1099"/>
                <a:gd name="T84" fmla="*/ 9 w 534"/>
                <a:gd name="T85" fmla="*/ 754 h 1099"/>
                <a:gd name="T86" fmla="*/ 19 w 534"/>
                <a:gd name="T87" fmla="*/ 804 h 1099"/>
                <a:gd name="T88" fmla="*/ 34 w 534"/>
                <a:gd name="T89" fmla="*/ 854 h 1099"/>
                <a:gd name="T90" fmla="*/ 52 w 534"/>
                <a:gd name="T91" fmla="*/ 903 h 1099"/>
                <a:gd name="T92" fmla="*/ 75 w 534"/>
                <a:gd name="T93" fmla="*/ 950 h 1099"/>
                <a:gd name="T94" fmla="*/ 102 w 534"/>
                <a:gd name="T95" fmla="*/ 995 h 1099"/>
                <a:gd name="T96" fmla="*/ 132 w 534"/>
                <a:gd name="T97" fmla="*/ 1039 h 1099"/>
                <a:gd name="T98" fmla="*/ 166 w 534"/>
                <a:gd name="T99" fmla="*/ 1080 h 1099"/>
                <a:gd name="T100" fmla="*/ 230 w 534"/>
                <a:gd name="T101" fmla="*/ 935 h 1099"/>
                <a:gd name="T102" fmla="*/ 398 w 534"/>
                <a:gd name="T103" fmla="*/ 870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4" h="1099">
                  <a:moveTo>
                    <a:pt x="398" y="870"/>
                  </a:moveTo>
                  <a:lnTo>
                    <a:pt x="390" y="860"/>
                  </a:lnTo>
                  <a:lnTo>
                    <a:pt x="382" y="850"/>
                  </a:lnTo>
                  <a:lnTo>
                    <a:pt x="375" y="840"/>
                  </a:lnTo>
                  <a:lnTo>
                    <a:pt x="368" y="830"/>
                  </a:lnTo>
                  <a:lnTo>
                    <a:pt x="361" y="819"/>
                  </a:lnTo>
                  <a:lnTo>
                    <a:pt x="355" y="808"/>
                  </a:lnTo>
                  <a:lnTo>
                    <a:pt x="349" y="797"/>
                  </a:lnTo>
                  <a:lnTo>
                    <a:pt x="344" y="786"/>
                  </a:lnTo>
                  <a:lnTo>
                    <a:pt x="340" y="774"/>
                  </a:lnTo>
                  <a:lnTo>
                    <a:pt x="335" y="763"/>
                  </a:lnTo>
                  <a:lnTo>
                    <a:pt x="332" y="751"/>
                  </a:lnTo>
                  <a:lnTo>
                    <a:pt x="328" y="739"/>
                  </a:lnTo>
                  <a:lnTo>
                    <a:pt x="326" y="727"/>
                  </a:lnTo>
                  <a:lnTo>
                    <a:pt x="323" y="715"/>
                  </a:lnTo>
                  <a:lnTo>
                    <a:pt x="321" y="702"/>
                  </a:lnTo>
                  <a:lnTo>
                    <a:pt x="320" y="690"/>
                  </a:lnTo>
                  <a:lnTo>
                    <a:pt x="319" y="678"/>
                  </a:lnTo>
                  <a:lnTo>
                    <a:pt x="319" y="665"/>
                  </a:lnTo>
                  <a:lnTo>
                    <a:pt x="319" y="653"/>
                  </a:lnTo>
                  <a:lnTo>
                    <a:pt x="319" y="640"/>
                  </a:lnTo>
                  <a:lnTo>
                    <a:pt x="320" y="628"/>
                  </a:lnTo>
                  <a:lnTo>
                    <a:pt x="322" y="616"/>
                  </a:lnTo>
                  <a:lnTo>
                    <a:pt x="324" y="603"/>
                  </a:lnTo>
                  <a:lnTo>
                    <a:pt x="327" y="591"/>
                  </a:lnTo>
                  <a:lnTo>
                    <a:pt x="330" y="579"/>
                  </a:lnTo>
                  <a:lnTo>
                    <a:pt x="333" y="566"/>
                  </a:lnTo>
                  <a:lnTo>
                    <a:pt x="337" y="554"/>
                  </a:lnTo>
                  <a:lnTo>
                    <a:pt x="342" y="542"/>
                  </a:lnTo>
                  <a:lnTo>
                    <a:pt x="347" y="530"/>
                  </a:lnTo>
                  <a:lnTo>
                    <a:pt x="353" y="519"/>
                  </a:lnTo>
                  <a:lnTo>
                    <a:pt x="359" y="507"/>
                  </a:lnTo>
                  <a:lnTo>
                    <a:pt x="366" y="496"/>
                  </a:lnTo>
                  <a:lnTo>
                    <a:pt x="371" y="488"/>
                  </a:lnTo>
                  <a:lnTo>
                    <a:pt x="377" y="480"/>
                  </a:lnTo>
                  <a:lnTo>
                    <a:pt x="383" y="472"/>
                  </a:lnTo>
                  <a:lnTo>
                    <a:pt x="389" y="464"/>
                  </a:lnTo>
                  <a:lnTo>
                    <a:pt x="395" y="457"/>
                  </a:lnTo>
                  <a:lnTo>
                    <a:pt x="401" y="450"/>
                  </a:lnTo>
                  <a:lnTo>
                    <a:pt x="408" y="443"/>
                  </a:lnTo>
                  <a:lnTo>
                    <a:pt x="414" y="436"/>
                  </a:lnTo>
                  <a:lnTo>
                    <a:pt x="421" y="430"/>
                  </a:lnTo>
                  <a:lnTo>
                    <a:pt x="428" y="424"/>
                  </a:lnTo>
                  <a:lnTo>
                    <a:pt x="435" y="418"/>
                  </a:lnTo>
                  <a:lnTo>
                    <a:pt x="443" y="412"/>
                  </a:lnTo>
                  <a:lnTo>
                    <a:pt x="450" y="406"/>
                  </a:lnTo>
                  <a:lnTo>
                    <a:pt x="458" y="401"/>
                  </a:lnTo>
                  <a:lnTo>
                    <a:pt x="465" y="396"/>
                  </a:lnTo>
                  <a:lnTo>
                    <a:pt x="473" y="391"/>
                  </a:lnTo>
                  <a:lnTo>
                    <a:pt x="504" y="454"/>
                  </a:lnTo>
                  <a:lnTo>
                    <a:pt x="534" y="185"/>
                  </a:lnTo>
                  <a:lnTo>
                    <a:pt x="329" y="0"/>
                  </a:lnTo>
                  <a:lnTo>
                    <a:pt x="363" y="79"/>
                  </a:lnTo>
                  <a:lnTo>
                    <a:pt x="344" y="89"/>
                  </a:lnTo>
                  <a:lnTo>
                    <a:pt x="324" y="99"/>
                  </a:lnTo>
                  <a:lnTo>
                    <a:pt x="305" y="111"/>
                  </a:lnTo>
                  <a:lnTo>
                    <a:pt x="286" y="123"/>
                  </a:lnTo>
                  <a:lnTo>
                    <a:pt x="267" y="136"/>
                  </a:lnTo>
                  <a:lnTo>
                    <a:pt x="249" y="150"/>
                  </a:lnTo>
                  <a:lnTo>
                    <a:pt x="231" y="164"/>
                  </a:lnTo>
                  <a:lnTo>
                    <a:pt x="214" y="180"/>
                  </a:lnTo>
                  <a:lnTo>
                    <a:pt x="197" y="196"/>
                  </a:lnTo>
                  <a:lnTo>
                    <a:pt x="180" y="212"/>
                  </a:lnTo>
                  <a:lnTo>
                    <a:pt x="165" y="229"/>
                  </a:lnTo>
                  <a:lnTo>
                    <a:pt x="149" y="247"/>
                  </a:lnTo>
                  <a:lnTo>
                    <a:pt x="134" y="265"/>
                  </a:lnTo>
                  <a:lnTo>
                    <a:pt x="120" y="284"/>
                  </a:lnTo>
                  <a:lnTo>
                    <a:pt x="107" y="303"/>
                  </a:lnTo>
                  <a:lnTo>
                    <a:pt x="94" y="323"/>
                  </a:lnTo>
                  <a:lnTo>
                    <a:pt x="80" y="347"/>
                  </a:lnTo>
                  <a:lnTo>
                    <a:pt x="67" y="371"/>
                  </a:lnTo>
                  <a:lnTo>
                    <a:pt x="55" y="395"/>
                  </a:lnTo>
                  <a:lnTo>
                    <a:pt x="45" y="420"/>
                  </a:lnTo>
                  <a:lnTo>
                    <a:pt x="35" y="445"/>
                  </a:lnTo>
                  <a:lnTo>
                    <a:pt x="27" y="470"/>
                  </a:lnTo>
                  <a:lnTo>
                    <a:pt x="20" y="496"/>
                  </a:lnTo>
                  <a:lnTo>
                    <a:pt x="14" y="521"/>
                  </a:lnTo>
                  <a:lnTo>
                    <a:pt x="9" y="547"/>
                  </a:lnTo>
                  <a:lnTo>
                    <a:pt x="5" y="573"/>
                  </a:lnTo>
                  <a:lnTo>
                    <a:pt x="2" y="599"/>
                  </a:lnTo>
                  <a:lnTo>
                    <a:pt x="1" y="625"/>
                  </a:lnTo>
                  <a:lnTo>
                    <a:pt x="0" y="651"/>
                  </a:lnTo>
                  <a:lnTo>
                    <a:pt x="1" y="676"/>
                  </a:lnTo>
                  <a:lnTo>
                    <a:pt x="2" y="702"/>
                  </a:lnTo>
                  <a:lnTo>
                    <a:pt x="5" y="728"/>
                  </a:lnTo>
                  <a:lnTo>
                    <a:pt x="9" y="754"/>
                  </a:lnTo>
                  <a:lnTo>
                    <a:pt x="13" y="779"/>
                  </a:lnTo>
                  <a:lnTo>
                    <a:pt x="19" y="804"/>
                  </a:lnTo>
                  <a:lnTo>
                    <a:pt x="26" y="830"/>
                  </a:lnTo>
                  <a:lnTo>
                    <a:pt x="34" y="854"/>
                  </a:lnTo>
                  <a:lnTo>
                    <a:pt x="43" y="879"/>
                  </a:lnTo>
                  <a:lnTo>
                    <a:pt x="52" y="903"/>
                  </a:lnTo>
                  <a:lnTo>
                    <a:pt x="63" y="927"/>
                  </a:lnTo>
                  <a:lnTo>
                    <a:pt x="75" y="950"/>
                  </a:lnTo>
                  <a:lnTo>
                    <a:pt x="88" y="973"/>
                  </a:lnTo>
                  <a:lnTo>
                    <a:pt x="102" y="995"/>
                  </a:lnTo>
                  <a:lnTo>
                    <a:pt x="116" y="1017"/>
                  </a:lnTo>
                  <a:lnTo>
                    <a:pt x="132" y="1039"/>
                  </a:lnTo>
                  <a:lnTo>
                    <a:pt x="149" y="1060"/>
                  </a:lnTo>
                  <a:lnTo>
                    <a:pt x="166" y="1080"/>
                  </a:lnTo>
                  <a:lnTo>
                    <a:pt x="185" y="1099"/>
                  </a:lnTo>
                  <a:lnTo>
                    <a:pt x="230" y="935"/>
                  </a:lnTo>
                  <a:lnTo>
                    <a:pt x="398" y="870"/>
                  </a:lnTo>
                  <a:lnTo>
                    <a:pt x="398" y="870"/>
                  </a:lnTo>
                  <a:close/>
                </a:path>
              </a:pathLst>
            </a:custGeom>
            <a:solidFill>
              <a:schemeClr val="bg1">
                <a:lumMod val="85000"/>
              </a:schemeClr>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9" name="Freeform 5">
              <a:extLst>
                <a:ext uri="{FF2B5EF4-FFF2-40B4-BE49-F238E27FC236}">
                  <a16:creationId xmlns:a16="http://schemas.microsoft.com/office/drawing/2014/main" id="{F1EF15D1-359B-B928-4671-3BD1CB437DAD}"/>
                </a:ext>
              </a:extLst>
            </p:cNvPr>
            <p:cNvSpPr>
              <a:spLocks/>
            </p:cNvSpPr>
            <p:nvPr>
              <p:custDataLst>
                <p:tags r:id="rId2"/>
              </p:custDataLst>
            </p:nvPr>
          </p:nvSpPr>
          <p:spPr bwMode="auto">
            <a:xfrm rot="2315660">
              <a:off x="541641" y="4153153"/>
              <a:ext cx="4022822" cy="2005025"/>
            </a:xfrm>
            <a:custGeom>
              <a:avLst/>
              <a:gdLst>
                <a:gd name="T0" fmla="*/ 730 w 1037"/>
                <a:gd name="T1" fmla="*/ 11 h 526"/>
                <a:gd name="T2" fmla="*/ 719 w 1037"/>
                <a:gd name="T3" fmla="*/ 34 h 526"/>
                <a:gd name="T4" fmla="*/ 707 w 1037"/>
                <a:gd name="T5" fmla="*/ 56 h 526"/>
                <a:gd name="T6" fmla="*/ 693 w 1037"/>
                <a:gd name="T7" fmla="*/ 77 h 526"/>
                <a:gd name="T8" fmla="*/ 678 w 1037"/>
                <a:gd name="T9" fmla="*/ 96 h 526"/>
                <a:gd name="T10" fmla="*/ 661 w 1037"/>
                <a:gd name="T11" fmla="*/ 114 h 526"/>
                <a:gd name="T12" fmla="*/ 642 w 1037"/>
                <a:gd name="T13" fmla="*/ 131 h 526"/>
                <a:gd name="T14" fmla="*/ 623 w 1037"/>
                <a:gd name="T15" fmla="*/ 146 h 526"/>
                <a:gd name="T16" fmla="*/ 602 w 1037"/>
                <a:gd name="T17" fmla="*/ 160 h 526"/>
                <a:gd name="T18" fmla="*/ 580 w 1037"/>
                <a:gd name="T19" fmla="*/ 172 h 526"/>
                <a:gd name="T20" fmla="*/ 558 w 1037"/>
                <a:gd name="T21" fmla="*/ 182 h 526"/>
                <a:gd name="T22" fmla="*/ 534 w 1037"/>
                <a:gd name="T23" fmla="*/ 190 h 526"/>
                <a:gd name="T24" fmla="*/ 510 w 1037"/>
                <a:gd name="T25" fmla="*/ 197 h 526"/>
                <a:gd name="T26" fmla="*/ 484 w 1037"/>
                <a:gd name="T27" fmla="*/ 201 h 526"/>
                <a:gd name="T28" fmla="*/ 459 w 1037"/>
                <a:gd name="T29" fmla="*/ 204 h 526"/>
                <a:gd name="T30" fmla="*/ 432 w 1037"/>
                <a:gd name="T31" fmla="*/ 204 h 526"/>
                <a:gd name="T32" fmla="*/ 410 w 1037"/>
                <a:gd name="T33" fmla="*/ 203 h 526"/>
                <a:gd name="T34" fmla="*/ 391 w 1037"/>
                <a:gd name="T35" fmla="*/ 200 h 526"/>
                <a:gd name="T36" fmla="*/ 372 w 1037"/>
                <a:gd name="T37" fmla="*/ 196 h 526"/>
                <a:gd name="T38" fmla="*/ 353 w 1037"/>
                <a:gd name="T39" fmla="*/ 192 h 526"/>
                <a:gd name="T40" fmla="*/ 335 w 1037"/>
                <a:gd name="T41" fmla="*/ 186 h 526"/>
                <a:gd name="T42" fmla="*/ 318 w 1037"/>
                <a:gd name="T43" fmla="*/ 179 h 526"/>
                <a:gd name="T44" fmla="*/ 301 w 1037"/>
                <a:gd name="T45" fmla="*/ 171 h 526"/>
                <a:gd name="T46" fmla="*/ 285 w 1037"/>
                <a:gd name="T47" fmla="*/ 163 h 526"/>
                <a:gd name="T48" fmla="*/ 318 w 1037"/>
                <a:gd name="T49" fmla="*/ 101 h 526"/>
                <a:gd name="T50" fmla="*/ 0 w 1037"/>
                <a:gd name="T51" fmla="*/ 469 h 526"/>
                <a:gd name="T52" fmla="*/ 71 w 1037"/>
                <a:gd name="T53" fmla="*/ 414 h 526"/>
                <a:gd name="T54" fmla="*/ 108 w 1037"/>
                <a:gd name="T55" fmla="*/ 438 h 526"/>
                <a:gd name="T56" fmla="*/ 148 w 1037"/>
                <a:gd name="T57" fmla="*/ 460 h 526"/>
                <a:gd name="T58" fmla="*/ 190 w 1037"/>
                <a:gd name="T59" fmla="*/ 478 h 526"/>
                <a:gd name="T60" fmla="*/ 234 w 1037"/>
                <a:gd name="T61" fmla="*/ 494 h 526"/>
                <a:gd name="T62" fmla="*/ 279 w 1037"/>
                <a:gd name="T63" fmla="*/ 507 h 526"/>
                <a:gd name="T64" fmla="*/ 325 w 1037"/>
                <a:gd name="T65" fmla="*/ 516 h 526"/>
                <a:gd name="T66" fmla="*/ 371 w 1037"/>
                <a:gd name="T67" fmla="*/ 523 h 526"/>
                <a:gd name="T68" fmla="*/ 422 w 1037"/>
                <a:gd name="T69" fmla="*/ 526 h 526"/>
                <a:gd name="T70" fmla="*/ 476 w 1037"/>
                <a:gd name="T71" fmla="*/ 525 h 526"/>
                <a:gd name="T72" fmla="*/ 530 w 1037"/>
                <a:gd name="T73" fmla="*/ 519 h 526"/>
                <a:gd name="T74" fmla="*/ 582 w 1037"/>
                <a:gd name="T75" fmla="*/ 509 h 526"/>
                <a:gd name="T76" fmla="*/ 632 w 1037"/>
                <a:gd name="T77" fmla="*/ 495 h 526"/>
                <a:gd name="T78" fmla="*/ 681 w 1037"/>
                <a:gd name="T79" fmla="*/ 476 h 526"/>
                <a:gd name="T80" fmla="*/ 728 w 1037"/>
                <a:gd name="T81" fmla="*/ 454 h 526"/>
                <a:gd name="T82" fmla="*/ 773 w 1037"/>
                <a:gd name="T83" fmla="*/ 428 h 526"/>
                <a:gd name="T84" fmla="*/ 815 w 1037"/>
                <a:gd name="T85" fmla="*/ 398 h 526"/>
                <a:gd name="T86" fmla="*/ 855 w 1037"/>
                <a:gd name="T87" fmla="*/ 365 h 526"/>
                <a:gd name="T88" fmla="*/ 892 w 1037"/>
                <a:gd name="T89" fmla="*/ 329 h 526"/>
                <a:gd name="T90" fmla="*/ 926 w 1037"/>
                <a:gd name="T91" fmla="*/ 289 h 526"/>
                <a:gd name="T92" fmla="*/ 957 w 1037"/>
                <a:gd name="T93" fmla="*/ 247 h 526"/>
                <a:gd name="T94" fmla="*/ 985 w 1037"/>
                <a:gd name="T95" fmla="*/ 202 h 526"/>
                <a:gd name="T96" fmla="*/ 1009 w 1037"/>
                <a:gd name="T97" fmla="*/ 155 h 526"/>
                <a:gd name="T98" fmla="*/ 1029 w 1037"/>
                <a:gd name="T99" fmla="*/ 106 h 526"/>
                <a:gd name="T100" fmla="*/ 872 w 1037"/>
                <a:gd name="T101" fmla="*/ 117 h 526"/>
                <a:gd name="T102" fmla="*/ 735 w 1037"/>
                <a:gd name="T103"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7" h="526">
                  <a:moveTo>
                    <a:pt x="735" y="0"/>
                  </a:moveTo>
                  <a:lnTo>
                    <a:pt x="730" y="11"/>
                  </a:lnTo>
                  <a:lnTo>
                    <a:pt x="725" y="23"/>
                  </a:lnTo>
                  <a:lnTo>
                    <a:pt x="719" y="34"/>
                  </a:lnTo>
                  <a:lnTo>
                    <a:pt x="713" y="45"/>
                  </a:lnTo>
                  <a:lnTo>
                    <a:pt x="707" y="56"/>
                  </a:lnTo>
                  <a:lnTo>
                    <a:pt x="700" y="67"/>
                  </a:lnTo>
                  <a:lnTo>
                    <a:pt x="693" y="77"/>
                  </a:lnTo>
                  <a:lnTo>
                    <a:pt x="686" y="87"/>
                  </a:lnTo>
                  <a:lnTo>
                    <a:pt x="678" y="96"/>
                  </a:lnTo>
                  <a:lnTo>
                    <a:pt x="669" y="105"/>
                  </a:lnTo>
                  <a:lnTo>
                    <a:pt x="661" y="114"/>
                  </a:lnTo>
                  <a:lnTo>
                    <a:pt x="652" y="123"/>
                  </a:lnTo>
                  <a:lnTo>
                    <a:pt x="642" y="131"/>
                  </a:lnTo>
                  <a:lnTo>
                    <a:pt x="633" y="139"/>
                  </a:lnTo>
                  <a:lnTo>
                    <a:pt x="623" y="146"/>
                  </a:lnTo>
                  <a:lnTo>
                    <a:pt x="613" y="153"/>
                  </a:lnTo>
                  <a:lnTo>
                    <a:pt x="602" y="160"/>
                  </a:lnTo>
                  <a:lnTo>
                    <a:pt x="591" y="166"/>
                  </a:lnTo>
                  <a:lnTo>
                    <a:pt x="580" y="172"/>
                  </a:lnTo>
                  <a:lnTo>
                    <a:pt x="569" y="177"/>
                  </a:lnTo>
                  <a:lnTo>
                    <a:pt x="558" y="182"/>
                  </a:lnTo>
                  <a:lnTo>
                    <a:pt x="546" y="186"/>
                  </a:lnTo>
                  <a:lnTo>
                    <a:pt x="534" y="190"/>
                  </a:lnTo>
                  <a:lnTo>
                    <a:pt x="522" y="194"/>
                  </a:lnTo>
                  <a:lnTo>
                    <a:pt x="510" y="197"/>
                  </a:lnTo>
                  <a:lnTo>
                    <a:pt x="497" y="199"/>
                  </a:lnTo>
                  <a:lnTo>
                    <a:pt x="484" y="201"/>
                  </a:lnTo>
                  <a:lnTo>
                    <a:pt x="472" y="203"/>
                  </a:lnTo>
                  <a:lnTo>
                    <a:pt x="459" y="204"/>
                  </a:lnTo>
                  <a:lnTo>
                    <a:pt x="446" y="204"/>
                  </a:lnTo>
                  <a:lnTo>
                    <a:pt x="432" y="204"/>
                  </a:lnTo>
                  <a:lnTo>
                    <a:pt x="419" y="203"/>
                  </a:lnTo>
                  <a:lnTo>
                    <a:pt x="410" y="203"/>
                  </a:lnTo>
                  <a:lnTo>
                    <a:pt x="400" y="201"/>
                  </a:lnTo>
                  <a:lnTo>
                    <a:pt x="391" y="200"/>
                  </a:lnTo>
                  <a:lnTo>
                    <a:pt x="381" y="198"/>
                  </a:lnTo>
                  <a:lnTo>
                    <a:pt x="372" y="196"/>
                  </a:lnTo>
                  <a:lnTo>
                    <a:pt x="363" y="194"/>
                  </a:lnTo>
                  <a:lnTo>
                    <a:pt x="353" y="192"/>
                  </a:lnTo>
                  <a:lnTo>
                    <a:pt x="344" y="189"/>
                  </a:lnTo>
                  <a:lnTo>
                    <a:pt x="335" y="186"/>
                  </a:lnTo>
                  <a:lnTo>
                    <a:pt x="327" y="182"/>
                  </a:lnTo>
                  <a:lnTo>
                    <a:pt x="318" y="179"/>
                  </a:lnTo>
                  <a:lnTo>
                    <a:pt x="309" y="175"/>
                  </a:lnTo>
                  <a:lnTo>
                    <a:pt x="301" y="171"/>
                  </a:lnTo>
                  <a:lnTo>
                    <a:pt x="293" y="167"/>
                  </a:lnTo>
                  <a:lnTo>
                    <a:pt x="285" y="163"/>
                  </a:lnTo>
                  <a:lnTo>
                    <a:pt x="277" y="158"/>
                  </a:lnTo>
                  <a:lnTo>
                    <a:pt x="318" y="101"/>
                  </a:lnTo>
                  <a:lnTo>
                    <a:pt x="67" y="201"/>
                  </a:lnTo>
                  <a:lnTo>
                    <a:pt x="0" y="469"/>
                  </a:lnTo>
                  <a:lnTo>
                    <a:pt x="53" y="401"/>
                  </a:lnTo>
                  <a:lnTo>
                    <a:pt x="71" y="414"/>
                  </a:lnTo>
                  <a:lnTo>
                    <a:pt x="89" y="427"/>
                  </a:lnTo>
                  <a:lnTo>
                    <a:pt x="108" y="438"/>
                  </a:lnTo>
                  <a:lnTo>
                    <a:pt x="128" y="449"/>
                  </a:lnTo>
                  <a:lnTo>
                    <a:pt x="148" y="460"/>
                  </a:lnTo>
                  <a:lnTo>
                    <a:pt x="169" y="469"/>
                  </a:lnTo>
                  <a:lnTo>
                    <a:pt x="190" y="478"/>
                  </a:lnTo>
                  <a:lnTo>
                    <a:pt x="212" y="486"/>
                  </a:lnTo>
                  <a:lnTo>
                    <a:pt x="234" y="494"/>
                  </a:lnTo>
                  <a:lnTo>
                    <a:pt x="256" y="501"/>
                  </a:lnTo>
                  <a:lnTo>
                    <a:pt x="279" y="507"/>
                  </a:lnTo>
                  <a:lnTo>
                    <a:pt x="302" y="512"/>
                  </a:lnTo>
                  <a:lnTo>
                    <a:pt x="325" y="516"/>
                  </a:lnTo>
                  <a:lnTo>
                    <a:pt x="348" y="520"/>
                  </a:lnTo>
                  <a:lnTo>
                    <a:pt x="371" y="523"/>
                  </a:lnTo>
                  <a:lnTo>
                    <a:pt x="395" y="525"/>
                  </a:lnTo>
                  <a:lnTo>
                    <a:pt x="422" y="526"/>
                  </a:lnTo>
                  <a:lnTo>
                    <a:pt x="449" y="526"/>
                  </a:lnTo>
                  <a:lnTo>
                    <a:pt x="476" y="525"/>
                  </a:lnTo>
                  <a:lnTo>
                    <a:pt x="503" y="523"/>
                  </a:lnTo>
                  <a:lnTo>
                    <a:pt x="530" y="519"/>
                  </a:lnTo>
                  <a:lnTo>
                    <a:pt x="556" y="515"/>
                  </a:lnTo>
                  <a:lnTo>
                    <a:pt x="582" y="509"/>
                  </a:lnTo>
                  <a:lnTo>
                    <a:pt x="607" y="503"/>
                  </a:lnTo>
                  <a:lnTo>
                    <a:pt x="632" y="495"/>
                  </a:lnTo>
                  <a:lnTo>
                    <a:pt x="657" y="486"/>
                  </a:lnTo>
                  <a:lnTo>
                    <a:pt x="681" y="476"/>
                  </a:lnTo>
                  <a:lnTo>
                    <a:pt x="705" y="466"/>
                  </a:lnTo>
                  <a:lnTo>
                    <a:pt x="728" y="454"/>
                  </a:lnTo>
                  <a:lnTo>
                    <a:pt x="750" y="441"/>
                  </a:lnTo>
                  <a:lnTo>
                    <a:pt x="773" y="428"/>
                  </a:lnTo>
                  <a:lnTo>
                    <a:pt x="794" y="413"/>
                  </a:lnTo>
                  <a:lnTo>
                    <a:pt x="815" y="398"/>
                  </a:lnTo>
                  <a:lnTo>
                    <a:pt x="835" y="382"/>
                  </a:lnTo>
                  <a:lnTo>
                    <a:pt x="855" y="365"/>
                  </a:lnTo>
                  <a:lnTo>
                    <a:pt x="874" y="347"/>
                  </a:lnTo>
                  <a:lnTo>
                    <a:pt x="892" y="329"/>
                  </a:lnTo>
                  <a:lnTo>
                    <a:pt x="909" y="309"/>
                  </a:lnTo>
                  <a:lnTo>
                    <a:pt x="926" y="289"/>
                  </a:lnTo>
                  <a:lnTo>
                    <a:pt x="942" y="269"/>
                  </a:lnTo>
                  <a:lnTo>
                    <a:pt x="957" y="247"/>
                  </a:lnTo>
                  <a:lnTo>
                    <a:pt x="971" y="225"/>
                  </a:lnTo>
                  <a:lnTo>
                    <a:pt x="985" y="202"/>
                  </a:lnTo>
                  <a:lnTo>
                    <a:pt x="997" y="179"/>
                  </a:lnTo>
                  <a:lnTo>
                    <a:pt x="1009" y="155"/>
                  </a:lnTo>
                  <a:lnTo>
                    <a:pt x="1019" y="131"/>
                  </a:lnTo>
                  <a:lnTo>
                    <a:pt x="1029" y="106"/>
                  </a:lnTo>
                  <a:lnTo>
                    <a:pt x="1037" y="80"/>
                  </a:lnTo>
                  <a:lnTo>
                    <a:pt x="872" y="117"/>
                  </a:lnTo>
                  <a:lnTo>
                    <a:pt x="735" y="0"/>
                  </a:lnTo>
                  <a:lnTo>
                    <a:pt x="735" y="0"/>
                  </a:lnTo>
                  <a:close/>
                </a:path>
              </a:pathLst>
            </a:custGeom>
            <a:solidFill>
              <a:schemeClr val="bg1">
                <a:lumMod val="85000"/>
              </a:schemeClr>
            </a:solidFill>
            <a:ln w="1143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0" name="Freeform 4">
              <a:extLst>
                <a:ext uri="{FF2B5EF4-FFF2-40B4-BE49-F238E27FC236}">
                  <a16:creationId xmlns:a16="http://schemas.microsoft.com/office/drawing/2014/main" id="{6661F2D9-1248-D6F4-238B-1A87DEDDA569}"/>
                </a:ext>
              </a:extLst>
            </p:cNvPr>
            <p:cNvSpPr>
              <a:spLocks/>
            </p:cNvSpPr>
            <p:nvPr>
              <p:custDataLst>
                <p:tags r:id="rId3"/>
              </p:custDataLst>
            </p:nvPr>
          </p:nvSpPr>
          <p:spPr bwMode="auto">
            <a:xfrm rot="2243846">
              <a:off x="2785322" y="2246716"/>
              <a:ext cx="3454520" cy="3128859"/>
            </a:xfrm>
            <a:custGeom>
              <a:avLst/>
              <a:gdLst>
                <a:gd name="T0" fmla="*/ 125 w 893"/>
                <a:gd name="T1" fmla="*/ 323 h 826"/>
                <a:gd name="T2" fmla="*/ 151 w 893"/>
                <a:gd name="T3" fmla="*/ 323 h 826"/>
                <a:gd name="T4" fmla="*/ 177 w 893"/>
                <a:gd name="T5" fmla="*/ 324 h 826"/>
                <a:gd name="T6" fmla="*/ 204 w 893"/>
                <a:gd name="T7" fmla="*/ 327 h 826"/>
                <a:gd name="T8" fmla="*/ 230 w 893"/>
                <a:gd name="T9" fmla="*/ 331 h 826"/>
                <a:gd name="T10" fmla="*/ 257 w 893"/>
                <a:gd name="T11" fmla="*/ 338 h 826"/>
                <a:gd name="T12" fmla="*/ 282 w 893"/>
                <a:gd name="T13" fmla="*/ 346 h 826"/>
                <a:gd name="T14" fmla="*/ 308 w 893"/>
                <a:gd name="T15" fmla="*/ 356 h 826"/>
                <a:gd name="T16" fmla="*/ 332 w 893"/>
                <a:gd name="T17" fmla="*/ 367 h 826"/>
                <a:gd name="T18" fmla="*/ 355 w 893"/>
                <a:gd name="T19" fmla="*/ 380 h 826"/>
                <a:gd name="T20" fmla="*/ 377 w 893"/>
                <a:gd name="T21" fmla="*/ 395 h 826"/>
                <a:gd name="T22" fmla="*/ 398 w 893"/>
                <a:gd name="T23" fmla="*/ 412 h 826"/>
                <a:gd name="T24" fmla="*/ 417 w 893"/>
                <a:gd name="T25" fmla="*/ 430 h 826"/>
                <a:gd name="T26" fmla="*/ 434 w 893"/>
                <a:gd name="T27" fmla="*/ 450 h 826"/>
                <a:gd name="T28" fmla="*/ 449 w 893"/>
                <a:gd name="T29" fmla="*/ 472 h 826"/>
                <a:gd name="T30" fmla="*/ 461 w 893"/>
                <a:gd name="T31" fmla="*/ 495 h 826"/>
                <a:gd name="T32" fmla="*/ 473 w 893"/>
                <a:gd name="T33" fmla="*/ 526 h 826"/>
                <a:gd name="T34" fmla="*/ 484 w 893"/>
                <a:gd name="T35" fmla="*/ 563 h 826"/>
                <a:gd name="T36" fmla="*/ 488 w 893"/>
                <a:gd name="T37" fmla="*/ 581 h 826"/>
                <a:gd name="T38" fmla="*/ 491 w 893"/>
                <a:gd name="T39" fmla="*/ 600 h 826"/>
                <a:gd name="T40" fmla="*/ 492 w 893"/>
                <a:gd name="T41" fmla="*/ 619 h 826"/>
                <a:gd name="T42" fmla="*/ 493 w 893"/>
                <a:gd name="T43" fmla="*/ 637 h 826"/>
                <a:gd name="T44" fmla="*/ 492 w 893"/>
                <a:gd name="T45" fmla="*/ 655 h 826"/>
                <a:gd name="T46" fmla="*/ 623 w 893"/>
                <a:gd name="T47" fmla="*/ 826 h 826"/>
                <a:gd name="T48" fmla="*/ 809 w 893"/>
                <a:gd name="T49" fmla="*/ 750 h 826"/>
                <a:gd name="T50" fmla="*/ 816 w 893"/>
                <a:gd name="T51" fmla="*/ 706 h 826"/>
                <a:gd name="T52" fmla="*/ 819 w 893"/>
                <a:gd name="T53" fmla="*/ 662 h 826"/>
                <a:gd name="T54" fmla="*/ 819 w 893"/>
                <a:gd name="T55" fmla="*/ 616 h 826"/>
                <a:gd name="T56" fmla="*/ 816 w 893"/>
                <a:gd name="T57" fmla="*/ 570 h 826"/>
                <a:gd name="T58" fmla="*/ 809 w 893"/>
                <a:gd name="T59" fmla="*/ 524 h 826"/>
                <a:gd name="T60" fmla="*/ 799 w 893"/>
                <a:gd name="T61" fmla="*/ 478 h 826"/>
                <a:gd name="T62" fmla="*/ 786 w 893"/>
                <a:gd name="T63" fmla="*/ 433 h 826"/>
                <a:gd name="T64" fmla="*/ 770 w 893"/>
                <a:gd name="T65" fmla="*/ 389 h 826"/>
                <a:gd name="T66" fmla="*/ 758 w 893"/>
                <a:gd name="T67" fmla="*/ 362 h 826"/>
                <a:gd name="T68" fmla="*/ 745 w 893"/>
                <a:gd name="T69" fmla="*/ 337 h 826"/>
                <a:gd name="T70" fmla="*/ 731 w 893"/>
                <a:gd name="T71" fmla="*/ 311 h 826"/>
                <a:gd name="T72" fmla="*/ 716 w 893"/>
                <a:gd name="T73" fmla="*/ 287 h 826"/>
                <a:gd name="T74" fmla="*/ 700 w 893"/>
                <a:gd name="T75" fmla="*/ 263 h 826"/>
                <a:gd name="T76" fmla="*/ 682 w 893"/>
                <a:gd name="T77" fmla="*/ 241 h 826"/>
                <a:gd name="T78" fmla="*/ 645 w 893"/>
                <a:gd name="T79" fmla="*/ 198 h 826"/>
                <a:gd name="T80" fmla="*/ 604 w 893"/>
                <a:gd name="T81" fmla="*/ 159 h 826"/>
                <a:gd name="T82" fmla="*/ 560 w 893"/>
                <a:gd name="T83" fmla="*/ 123 h 826"/>
                <a:gd name="T84" fmla="*/ 512 w 893"/>
                <a:gd name="T85" fmla="*/ 92 h 826"/>
                <a:gd name="T86" fmla="*/ 462 w 893"/>
                <a:gd name="T87" fmla="*/ 65 h 826"/>
                <a:gd name="T88" fmla="*/ 410 w 893"/>
                <a:gd name="T89" fmla="*/ 42 h 826"/>
                <a:gd name="T90" fmla="*/ 355 w 893"/>
                <a:gd name="T91" fmla="*/ 24 h 826"/>
                <a:gd name="T92" fmla="*/ 299 w 893"/>
                <a:gd name="T93" fmla="*/ 11 h 826"/>
                <a:gd name="T94" fmla="*/ 241 w 893"/>
                <a:gd name="T95" fmla="*/ 3 h 826"/>
                <a:gd name="T96" fmla="*/ 211 w 893"/>
                <a:gd name="T97" fmla="*/ 1 h 826"/>
                <a:gd name="T98" fmla="*/ 181 w 893"/>
                <a:gd name="T99" fmla="*/ 0 h 826"/>
                <a:gd name="T100" fmla="*/ 151 w 893"/>
                <a:gd name="T101" fmla="*/ 0 h 826"/>
                <a:gd name="T102" fmla="*/ 121 w 893"/>
                <a:gd name="T103" fmla="*/ 2 h 826"/>
                <a:gd name="T104" fmla="*/ 91 w 893"/>
                <a:gd name="T105" fmla="*/ 6 h 826"/>
                <a:gd name="T106" fmla="*/ 61 w 893"/>
                <a:gd name="T107" fmla="*/ 10 h 826"/>
                <a:gd name="T108" fmla="*/ 30 w 893"/>
                <a:gd name="T109" fmla="*/ 17 h 826"/>
                <a:gd name="T110" fmla="*/ 0 w 893"/>
                <a:gd name="T111" fmla="*/ 24 h 826"/>
                <a:gd name="T112" fmla="*/ 112 w 893"/>
                <a:gd name="T113" fmla="*/ 3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3" h="826">
                  <a:moveTo>
                    <a:pt x="112" y="325"/>
                  </a:moveTo>
                  <a:lnTo>
                    <a:pt x="125" y="323"/>
                  </a:lnTo>
                  <a:lnTo>
                    <a:pt x="138" y="323"/>
                  </a:lnTo>
                  <a:lnTo>
                    <a:pt x="151" y="323"/>
                  </a:lnTo>
                  <a:lnTo>
                    <a:pt x="164" y="323"/>
                  </a:lnTo>
                  <a:lnTo>
                    <a:pt x="177" y="324"/>
                  </a:lnTo>
                  <a:lnTo>
                    <a:pt x="190" y="325"/>
                  </a:lnTo>
                  <a:lnTo>
                    <a:pt x="204" y="327"/>
                  </a:lnTo>
                  <a:lnTo>
                    <a:pt x="217" y="329"/>
                  </a:lnTo>
                  <a:lnTo>
                    <a:pt x="230" y="331"/>
                  </a:lnTo>
                  <a:lnTo>
                    <a:pt x="243" y="334"/>
                  </a:lnTo>
                  <a:lnTo>
                    <a:pt x="257" y="338"/>
                  </a:lnTo>
                  <a:lnTo>
                    <a:pt x="270" y="341"/>
                  </a:lnTo>
                  <a:lnTo>
                    <a:pt x="282" y="346"/>
                  </a:lnTo>
                  <a:lnTo>
                    <a:pt x="295" y="350"/>
                  </a:lnTo>
                  <a:lnTo>
                    <a:pt x="308" y="356"/>
                  </a:lnTo>
                  <a:lnTo>
                    <a:pt x="320" y="361"/>
                  </a:lnTo>
                  <a:lnTo>
                    <a:pt x="332" y="367"/>
                  </a:lnTo>
                  <a:lnTo>
                    <a:pt x="344" y="374"/>
                  </a:lnTo>
                  <a:lnTo>
                    <a:pt x="355" y="380"/>
                  </a:lnTo>
                  <a:lnTo>
                    <a:pt x="367" y="388"/>
                  </a:lnTo>
                  <a:lnTo>
                    <a:pt x="377" y="395"/>
                  </a:lnTo>
                  <a:lnTo>
                    <a:pt x="388" y="404"/>
                  </a:lnTo>
                  <a:lnTo>
                    <a:pt x="398" y="412"/>
                  </a:lnTo>
                  <a:lnTo>
                    <a:pt x="408" y="421"/>
                  </a:lnTo>
                  <a:lnTo>
                    <a:pt x="417" y="430"/>
                  </a:lnTo>
                  <a:lnTo>
                    <a:pt x="426" y="440"/>
                  </a:lnTo>
                  <a:lnTo>
                    <a:pt x="434" y="450"/>
                  </a:lnTo>
                  <a:lnTo>
                    <a:pt x="442" y="461"/>
                  </a:lnTo>
                  <a:lnTo>
                    <a:pt x="449" y="472"/>
                  </a:lnTo>
                  <a:lnTo>
                    <a:pt x="455" y="484"/>
                  </a:lnTo>
                  <a:lnTo>
                    <a:pt x="461" y="495"/>
                  </a:lnTo>
                  <a:lnTo>
                    <a:pt x="467" y="508"/>
                  </a:lnTo>
                  <a:lnTo>
                    <a:pt x="473" y="526"/>
                  </a:lnTo>
                  <a:lnTo>
                    <a:pt x="479" y="544"/>
                  </a:lnTo>
                  <a:lnTo>
                    <a:pt x="484" y="563"/>
                  </a:lnTo>
                  <a:lnTo>
                    <a:pt x="486" y="572"/>
                  </a:lnTo>
                  <a:lnTo>
                    <a:pt x="488" y="581"/>
                  </a:lnTo>
                  <a:lnTo>
                    <a:pt x="490" y="591"/>
                  </a:lnTo>
                  <a:lnTo>
                    <a:pt x="491" y="600"/>
                  </a:lnTo>
                  <a:lnTo>
                    <a:pt x="492" y="609"/>
                  </a:lnTo>
                  <a:lnTo>
                    <a:pt x="492" y="619"/>
                  </a:lnTo>
                  <a:lnTo>
                    <a:pt x="493" y="628"/>
                  </a:lnTo>
                  <a:lnTo>
                    <a:pt x="493" y="637"/>
                  </a:lnTo>
                  <a:lnTo>
                    <a:pt x="492" y="646"/>
                  </a:lnTo>
                  <a:lnTo>
                    <a:pt x="492" y="655"/>
                  </a:lnTo>
                  <a:lnTo>
                    <a:pt x="422" y="644"/>
                  </a:lnTo>
                  <a:lnTo>
                    <a:pt x="623" y="826"/>
                  </a:lnTo>
                  <a:lnTo>
                    <a:pt x="893" y="768"/>
                  </a:lnTo>
                  <a:lnTo>
                    <a:pt x="809" y="750"/>
                  </a:lnTo>
                  <a:lnTo>
                    <a:pt x="813" y="728"/>
                  </a:lnTo>
                  <a:lnTo>
                    <a:pt x="816" y="706"/>
                  </a:lnTo>
                  <a:lnTo>
                    <a:pt x="818" y="684"/>
                  </a:lnTo>
                  <a:lnTo>
                    <a:pt x="819" y="662"/>
                  </a:lnTo>
                  <a:lnTo>
                    <a:pt x="819" y="639"/>
                  </a:lnTo>
                  <a:lnTo>
                    <a:pt x="819" y="616"/>
                  </a:lnTo>
                  <a:lnTo>
                    <a:pt x="818" y="593"/>
                  </a:lnTo>
                  <a:lnTo>
                    <a:pt x="816" y="570"/>
                  </a:lnTo>
                  <a:lnTo>
                    <a:pt x="813" y="547"/>
                  </a:lnTo>
                  <a:lnTo>
                    <a:pt x="809" y="524"/>
                  </a:lnTo>
                  <a:lnTo>
                    <a:pt x="804" y="501"/>
                  </a:lnTo>
                  <a:lnTo>
                    <a:pt x="799" y="478"/>
                  </a:lnTo>
                  <a:lnTo>
                    <a:pt x="793" y="455"/>
                  </a:lnTo>
                  <a:lnTo>
                    <a:pt x="786" y="433"/>
                  </a:lnTo>
                  <a:lnTo>
                    <a:pt x="778" y="411"/>
                  </a:lnTo>
                  <a:lnTo>
                    <a:pt x="770" y="389"/>
                  </a:lnTo>
                  <a:lnTo>
                    <a:pt x="764" y="376"/>
                  </a:lnTo>
                  <a:lnTo>
                    <a:pt x="758" y="362"/>
                  </a:lnTo>
                  <a:lnTo>
                    <a:pt x="752" y="349"/>
                  </a:lnTo>
                  <a:lnTo>
                    <a:pt x="745" y="337"/>
                  </a:lnTo>
                  <a:lnTo>
                    <a:pt x="738" y="324"/>
                  </a:lnTo>
                  <a:lnTo>
                    <a:pt x="731" y="311"/>
                  </a:lnTo>
                  <a:lnTo>
                    <a:pt x="723" y="299"/>
                  </a:lnTo>
                  <a:lnTo>
                    <a:pt x="716" y="287"/>
                  </a:lnTo>
                  <a:lnTo>
                    <a:pt x="708" y="275"/>
                  </a:lnTo>
                  <a:lnTo>
                    <a:pt x="700" y="263"/>
                  </a:lnTo>
                  <a:lnTo>
                    <a:pt x="691" y="252"/>
                  </a:lnTo>
                  <a:lnTo>
                    <a:pt x="682" y="241"/>
                  </a:lnTo>
                  <a:lnTo>
                    <a:pt x="664" y="219"/>
                  </a:lnTo>
                  <a:lnTo>
                    <a:pt x="645" y="198"/>
                  </a:lnTo>
                  <a:lnTo>
                    <a:pt x="625" y="178"/>
                  </a:lnTo>
                  <a:lnTo>
                    <a:pt x="604" y="159"/>
                  </a:lnTo>
                  <a:lnTo>
                    <a:pt x="582" y="141"/>
                  </a:lnTo>
                  <a:lnTo>
                    <a:pt x="560" y="123"/>
                  </a:lnTo>
                  <a:lnTo>
                    <a:pt x="536" y="107"/>
                  </a:lnTo>
                  <a:lnTo>
                    <a:pt x="512" y="92"/>
                  </a:lnTo>
                  <a:lnTo>
                    <a:pt x="488" y="78"/>
                  </a:lnTo>
                  <a:lnTo>
                    <a:pt x="462" y="65"/>
                  </a:lnTo>
                  <a:lnTo>
                    <a:pt x="436" y="53"/>
                  </a:lnTo>
                  <a:lnTo>
                    <a:pt x="410" y="42"/>
                  </a:lnTo>
                  <a:lnTo>
                    <a:pt x="383" y="33"/>
                  </a:lnTo>
                  <a:lnTo>
                    <a:pt x="355" y="24"/>
                  </a:lnTo>
                  <a:lnTo>
                    <a:pt x="327" y="17"/>
                  </a:lnTo>
                  <a:lnTo>
                    <a:pt x="299" y="11"/>
                  </a:lnTo>
                  <a:lnTo>
                    <a:pt x="270" y="6"/>
                  </a:lnTo>
                  <a:lnTo>
                    <a:pt x="241" y="3"/>
                  </a:lnTo>
                  <a:lnTo>
                    <a:pt x="226" y="2"/>
                  </a:lnTo>
                  <a:lnTo>
                    <a:pt x="211" y="1"/>
                  </a:lnTo>
                  <a:lnTo>
                    <a:pt x="196" y="0"/>
                  </a:lnTo>
                  <a:lnTo>
                    <a:pt x="181" y="0"/>
                  </a:lnTo>
                  <a:lnTo>
                    <a:pt x="166" y="0"/>
                  </a:lnTo>
                  <a:lnTo>
                    <a:pt x="151" y="0"/>
                  </a:lnTo>
                  <a:lnTo>
                    <a:pt x="136" y="1"/>
                  </a:lnTo>
                  <a:lnTo>
                    <a:pt x="121" y="2"/>
                  </a:lnTo>
                  <a:lnTo>
                    <a:pt x="106" y="4"/>
                  </a:lnTo>
                  <a:lnTo>
                    <a:pt x="91" y="6"/>
                  </a:lnTo>
                  <a:lnTo>
                    <a:pt x="76" y="8"/>
                  </a:lnTo>
                  <a:lnTo>
                    <a:pt x="61" y="10"/>
                  </a:lnTo>
                  <a:lnTo>
                    <a:pt x="45" y="13"/>
                  </a:lnTo>
                  <a:lnTo>
                    <a:pt x="30" y="17"/>
                  </a:lnTo>
                  <a:lnTo>
                    <a:pt x="15" y="20"/>
                  </a:lnTo>
                  <a:lnTo>
                    <a:pt x="0" y="24"/>
                  </a:lnTo>
                  <a:lnTo>
                    <a:pt x="135" y="154"/>
                  </a:lnTo>
                  <a:lnTo>
                    <a:pt x="112" y="325"/>
                  </a:lnTo>
                  <a:lnTo>
                    <a:pt x="112" y="325"/>
                  </a:lnTo>
                  <a:close/>
                </a:path>
              </a:pathLst>
            </a:custGeom>
            <a:solidFill>
              <a:srgbClr val="9AA4C3"/>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1" name="TextBox 10">
              <a:extLst>
                <a:ext uri="{FF2B5EF4-FFF2-40B4-BE49-F238E27FC236}">
                  <a16:creationId xmlns:a16="http://schemas.microsoft.com/office/drawing/2014/main" id="{1BBD0DDA-3DCC-096E-FB42-ECCB0E75DBFA}"/>
                </a:ext>
              </a:extLst>
            </p:cNvPr>
            <p:cNvSpPr txBox="1"/>
            <p:nvPr/>
          </p:nvSpPr>
          <p:spPr>
            <a:xfrm rot="20514076">
              <a:off x="1323245" y="1878150"/>
              <a:ext cx="3785064" cy="3814007"/>
            </a:xfrm>
            <a:prstGeom prst="rect">
              <a:avLst/>
            </a:prstGeom>
            <a:noFill/>
            <a:ln w="28575">
              <a:noFill/>
            </a:ln>
          </p:spPr>
          <p:txBody>
            <a:bodyPr wrap="square" lIns="109728" tIns="54864" rIns="109728" bIns="54864" rtlCol="0">
              <a:prstTxWarp prst="textArchUp">
                <a:avLst>
                  <a:gd name="adj" fmla="val 5811603"/>
                </a:avLst>
              </a:prstTxWarp>
              <a:spAutoFit/>
            </a:bodyPr>
            <a:lstStyle/>
            <a:p>
              <a:r>
                <a:rPr lang="en-US" sz="2000" b="1" dirty="0">
                  <a:solidFill>
                    <a:schemeClr val="bg1"/>
                  </a:solidFill>
                </a:rPr>
                <a:t>IDENTIFY LEADERS           INVEST &amp; DEVELOP             FORECAST VACANCIES       </a:t>
              </a:r>
            </a:p>
          </p:txBody>
        </p:sp>
      </p:grpSp>
    </p:spTree>
    <p:extLst>
      <p:ext uri="{BB962C8B-B14F-4D97-AF65-F5344CB8AC3E}">
        <p14:creationId xmlns:p14="http://schemas.microsoft.com/office/powerpoint/2010/main" val="919038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220E93C-4A3D-4B9E-17E6-577EE2AC05AD}"/>
              </a:ext>
            </a:extLst>
          </p:cNvPr>
          <p:cNvGraphicFramePr>
            <a:graphicFrameLocks noChangeAspect="1"/>
          </p:cNvGraphicFramePr>
          <p:nvPr>
            <p:custDataLst>
              <p:tags r:id="rId1"/>
            </p:custDataLst>
            <p:extLst>
              <p:ext uri="{D42A27DB-BD31-4B8C-83A1-F6EECF244321}">
                <p14:modId xmlns:p14="http://schemas.microsoft.com/office/powerpoint/2010/main" val="235878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6" name="think-cell data - do not delete" hidden="1">
                        <a:extLst>
                          <a:ext uri="{FF2B5EF4-FFF2-40B4-BE49-F238E27FC236}">
                            <a16:creationId xmlns:a16="http://schemas.microsoft.com/office/drawing/2014/main" id="{1220E93C-4A3D-4B9E-17E6-577EE2AC05A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D55B924-6DF2-5BFA-E803-A3F2CA1DC12B}"/>
              </a:ext>
            </a:extLst>
          </p:cNvPr>
          <p:cNvSpPr>
            <a:spLocks noGrp="1"/>
          </p:cNvSpPr>
          <p:nvPr>
            <p:ph type="title"/>
          </p:nvPr>
        </p:nvSpPr>
        <p:spPr/>
        <p:txBody>
          <a:bodyPr vert="horz"/>
          <a:lstStyle/>
          <a:p>
            <a:r>
              <a:rPr lang="en-US" dirty="0"/>
              <a:t>The first step in the Vacancy Planning Cycle is getting as clear a picture of your potential vacancies as you are able</a:t>
            </a:r>
            <a:endParaRPr lang="en-US" dirty="0">
              <a:solidFill>
                <a:schemeClr val="accent1"/>
              </a:solidFill>
            </a:endParaRPr>
          </a:p>
        </p:txBody>
      </p:sp>
      <p:grpSp>
        <p:nvGrpSpPr>
          <p:cNvPr id="21" name="Group 20">
            <a:extLst>
              <a:ext uri="{FF2B5EF4-FFF2-40B4-BE49-F238E27FC236}">
                <a16:creationId xmlns:a16="http://schemas.microsoft.com/office/drawing/2014/main" id="{4632B88A-0050-B9D1-03EF-AB03E2E3A28A}"/>
              </a:ext>
            </a:extLst>
          </p:cNvPr>
          <p:cNvGrpSpPr/>
          <p:nvPr/>
        </p:nvGrpSpPr>
        <p:grpSpPr>
          <a:xfrm>
            <a:off x="5274416" y="1392522"/>
            <a:ext cx="299226" cy="4689987"/>
            <a:chOff x="6869472" y="1715088"/>
            <a:chExt cx="299226" cy="4689987"/>
          </a:xfrm>
        </p:grpSpPr>
        <p:cxnSp>
          <p:nvCxnSpPr>
            <p:cNvPr id="22" name="LineContentSeparatorDefaultVertical 231">
              <a:extLst>
                <a:ext uri="{FF2B5EF4-FFF2-40B4-BE49-F238E27FC236}">
                  <a16:creationId xmlns:a16="http://schemas.microsoft.com/office/drawing/2014/main" id="{ADCCF644-8471-2598-3DB5-4BF549868DE8}"/>
                </a:ext>
              </a:extLst>
            </p:cNvPr>
            <p:cNvCxnSpPr>
              <a:cxnSpLocks/>
            </p:cNvCxnSpPr>
            <p:nvPr>
              <p:custDataLst>
                <p:tags r:id="rId5"/>
              </p:custDataLst>
            </p:nvPr>
          </p:nvCxnSpPr>
          <p:spPr>
            <a:xfrm>
              <a:off x="7019086" y="2182797"/>
              <a:ext cx="0" cy="4222278"/>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3" name="ChevronBlue 39">
              <a:extLst>
                <a:ext uri="{FF2B5EF4-FFF2-40B4-BE49-F238E27FC236}">
                  <a16:creationId xmlns:a16="http://schemas.microsoft.com/office/drawing/2014/main" id="{D0CD1A2E-EA58-F7DE-1384-61B83A0CC5CF}"/>
                </a:ext>
              </a:extLst>
            </p:cNvPr>
            <p:cNvGrpSpPr>
              <a:grpSpLocks noChangeAspect="1"/>
            </p:cNvGrpSpPr>
            <p:nvPr>
              <p:custDataLst>
                <p:tags r:id="rId6"/>
              </p:custDataLst>
            </p:nvPr>
          </p:nvGrpSpPr>
          <p:grpSpPr>
            <a:xfrm>
              <a:off x="6869472" y="1715088"/>
              <a:ext cx="299226" cy="299226"/>
              <a:chOff x="1016000" y="1016000"/>
              <a:chExt cx="396228" cy="396228"/>
            </a:xfrm>
            <a:solidFill>
              <a:srgbClr val="002E6D"/>
            </a:solidFill>
          </p:grpSpPr>
          <p:sp>
            <p:nvSpPr>
              <p:cNvPr id="24" name="Oval 23">
                <a:extLst>
                  <a:ext uri="{FF2B5EF4-FFF2-40B4-BE49-F238E27FC236}">
                    <a16:creationId xmlns:a16="http://schemas.microsoft.com/office/drawing/2014/main" id="{8204C566-88FC-0010-54CA-D6918E2FB18A}"/>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tx1"/>
                  </a:solidFill>
                </a:endParaRPr>
              </a:p>
            </p:txBody>
          </p:sp>
          <p:pic>
            <p:nvPicPr>
              <p:cNvPr id="25" name="Graphic 24">
                <a:extLst>
                  <a:ext uri="{FF2B5EF4-FFF2-40B4-BE49-F238E27FC236}">
                    <a16:creationId xmlns:a16="http://schemas.microsoft.com/office/drawing/2014/main" id="{076E65F8-2CE3-D19B-90D5-3167EA5890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23614" y="1023614"/>
                <a:ext cx="381000" cy="381000"/>
              </a:xfrm>
              <a:prstGeom prst="rect">
                <a:avLst/>
              </a:prstGeom>
            </p:spPr>
          </p:pic>
        </p:grpSp>
      </p:grpSp>
      <p:sp>
        <p:nvSpPr>
          <p:cNvPr id="27" name="TextBox 26">
            <a:extLst>
              <a:ext uri="{FF2B5EF4-FFF2-40B4-BE49-F238E27FC236}">
                <a16:creationId xmlns:a16="http://schemas.microsoft.com/office/drawing/2014/main" id="{73B0A776-B232-2CFE-E55D-D204E13E1509}"/>
              </a:ext>
            </a:extLst>
          </p:cNvPr>
          <p:cNvSpPr txBox="1">
            <a:spLocks/>
          </p:cNvSpPr>
          <p:nvPr/>
        </p:nvSpPr>
        <p:spPr>
          <a:xfrm>
            <a:off x="5918200" y="1947943"/>
            <a:ext cx="5647021" cy="339323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i="1" dirty="0"/>
              <a:t>When forecasting your vacancies you should seek to answer these three questions:</a:t>
            </a:r>
          </a:p>
          <a:p>
            <a:pPr>
              <a:buNone/>
            </a:pPr>
            <a:endParaRPr lang="en-US" sz="1800" dirty="0"/>
          </a:p>
          <a:p>
            <a:pPr lvl="1" indent="-228600">
              <a:buClr>
                <a:schemeClr val="accent1"/>
              </a:buClr>
              <a:buSzPct val="100000"/>
              <a:buFont typeface="Segoe UI" panose="020B0502040204020203" pitchFamily="34" charset="0"/>
              <a:buAutoNum type="arabicPeriod"/>
            </a:pPr>
            <a:r>
              <a:rPr lang="en-US" sz="1800" b="1" dirty="0"/>
              <a:t>How many principal vacancies can we expect to have in the coming year?</a:t>
            </a:r>
          </a:p>
          <a:p>
            <a:pPr lvl="1" indent="-228600">
              <a:buClr>
                <a:schemeClr val="accent1"/>
              </a:buClr>
              <a:buSzPct val="100000"/>
              <a:buFont typeface="Segoe UI" panose="020B0502040204020203" pitchFamily="34" charset="0"/>
              <a:buAutoNum type="arabicPeriod"/>
            </a:pPr>
            <a:endParaRPr lang="en-US" sz="1800" b="1" dirty="0"/>
          </a:p>
          <a:p>
            <a:pPr lvl="1" indent="-228600">
              <a:buClr>
                <a:schemeClr val="accent1"/>
              </a:buClr>
              <a:buSzPct val="100000"/>
              <a:buFont typeface="Segoe UI" panose="020B0502040204020203" pitchFamily="34" charset="0"/>
              <a:buAutoNum type="arabicPeriod"/>
            </a:pPr>
            <a:r>
              <a:rPr lang="en-US" sz="1800" b="1" dirty="0"/>
              <a:t>What are the major drivers of principal vacancies in our district?</a:t>
            </a:r>
          </a:p>
          <a:p>
            <a:pPr lvl="1" indent="-228600">
              <a:buClr>
                <a:schemeClr val="accent1"/>
              </a:buClr>
              <a:buSzPct val="100000"/>
              <a:buFont typeface="Segoe UI" panose="020B0502040204020203" pitchFamily="34" charset="0"/>
              <a:buAutoNum type="arabicPeriod"/>
            </a:pPr>
            <a:endParaRPr lang="en-US" sz="1800" b="1" dirty="0"/>
          </a:p>
          <a:p>
            <a:pPr lvl="1" indent="-228600">
              <a:buClr>
                <a:schemeClr val="accent1"/>
              </a:buClr>
              <a:buSzPct val="100000"/>
              <a:buFont typeface="Segoe UI" panose="020B0502040204020203" pitchFamily="34" charset="0"/>
              <a:buAutoNum type="arabicPeriod"/>
            </a:pPr>
            <a:r>
              <a:rPr lang="en-US" sz="1800" b="1" dirty="0"/>
              <a:t>Where are these vacancies most likely to occur?</a:t>
            </a:r>
          </a:p>
          <a:p>
            <a:pPr>
              <a:buNone/>
            </a:pPr>
            <a:endParaRPr lang="en-US" sz="1800" b="1" dirty="0"/>
          </a:p>
        </p:txBody>
      </p:sp>
      <p:grpSp>
        <p:nvGrpSpPr>
          <p:cNvPr id="32" name="Group 31">
            <a:extLst>
              <a:ext uri="{FF2B5EF4-FFF2-40B4-BE49-F238E27FC236}">
                <a16:creationId xmlns:a16="http://schemas.microsoft.com/office/drawing/2014/main" id="{F099308E-67B8-E868-70B1-735D1812DDD1}"/>
              </a:ext>
            </a:extLst>
          </p:cNvPr>
          <p:cNvGrpSpPr/>
          <p:nvPr/>
        </p:nvGrpSpPr>
        <p:grpSpPr>
          <a:xfrm>
            <a:off x="772085" y="1021175"/>
            <a:ext cx="4450503" cy="4363079"/>
            <a:chOff x="541641" y="571912"/>
            <a:chExt cx="5698201" cy="5586266"/>
          </a:xfrm>
        </p:grpSpPr>
        <p:sp>
          <p:nvSpPr>
            <p:cNvPr id="33" name="Freeform 3">
              <a:extLst>
                <a:ext uri="{FF2B5EF4-FFF2-40B4-BE49-F238E27FC236}">
                  <a16:creationId xmlns:a16="http://schemas.microsoft.com/office/drawing/2014/main" id="{95B9416A-D144-206F-5752-1C6C1E10DBAB}"/>
                </a:ext>
              </a:extLst>
            </p:cNvPr>
            <p:cNvSpPr>
              <a:spLocks/>
            </p:cNvSpPr>
            <p:nvPr>
              <p:custDataLst>
                <p:tags r:id="rId2"/>
              </p:custDataLst>
            </p:nvPr>
          </p:nvSpPr>
          <p:spPr bwMode="auto">
            <a:xfrm rot="2315660">
              <a:off x="1295060" y="571912"/>
              <a:ext cx="2062496" cy="4156911"/>
            </a:xfrm>
            <a:custGeom>
              <a:avLst/>
              <a:gdLst>
                <a:gd name="T0" fmla="*/ 390 w 534"/>
                <a:gd name="T1" fmla="*/ 860 h 1099"/>
                <a:gd name="T2" fmla="*/ 375 w 534"/>
                <a:gd name="T3" fmla="*/ 840 h 1099"/>
                <a:gd name="T4" fmla="*/ 361 w 534"/>
                <a:gd name="T5" fmla="*/ 819 h 1099"/>
                <a:gd name="T6" fmla="*/ 349 w 534"/>
                <a:gd name="T7" fmla="*/ 797 h 1099"/>
                <a:gd name="T8" fmla="*/ 340 w 534"/>
                <a:gd name="T9" fmla="*/ 774 h 1099"/>
                <a:gd name="T10" fmla="*/ 332 w 534"/>
                <a:gd name="T11" fmla="*/ 751 h 1099"/>
                <a:gd name="T12" fmla="*/ 326 w 534"/>
                <a:gd name="T13" fmla="*/ 727 h 1099"/>
                <a:gd name="T14" fmla="*/ 321 w 534"/>
                <a:gd name="T15" fmla="*/ 702 h 1099"/>
                <a:gd name="T16" fmla="*/ 319 w 534"/>
                <a:gd name="T17" fmla="*/ 678 h 1099"/>
                <a:gd name="T18" fmla="*/ 319 w 534"/>
                <a:gd name="T19" fmla="*/ 653 h 1099"/>
                <a:gd name="T20" fmla="*/ 320 w 534"/>
                <a:gd name="T21" fmla="*/ 628 h 1099"/>
                <a:gd name="T22" fmla="*/ 324 w 534"/>
                <a:gd name="T23" fmla="*/ 603 h 1099"/>
                <a:gd name="T24" fmla="*/ 330 w 534"/>
                <a:gd name="T25" fmla="*/ 579 h 1099"/>
                <a:gd name="T26" fmla="*/ 337 w 534"/>
                <a:gd name="T27" fmla="*/ 554 h 1099"/>
                <a:gd name="T28" fmla="*/ 347 w 534"/>
                <a:gd name="T29" fmla="*/ 530 h 1099"/>
                <a:gd name="T30" fmla="*/ 359 w 534"/>
                <a:gd name="T31" fmla="*/ 507 h 1099"/>
                <a:gd name="T32" fmla="*/ 371 w 534"/>
                <a:gd name="T33" fmla="*/ 488 h 1099"/>
                <a:gd name="T34" fmla="*/ 383 w 534"/>
                <a:gd name="T35" fmla="*/ 472 h 1099"/>
                <a:gd name="T36" fmla="*/ 395 w 534"/>
                <a:gd name="T37" fmla="*/ 457 h 1099"/>
                <a:gd name="T38" fmla="*/ 408 w 534"/>
                <a:gd name="T39" fmla="*/ 443 h 1099"/>
                <a:gd name="T40" fmla="*/ 421 w 534"/>
                <a:gd name="T41" fmla="*/ 430 h 1099"/>
                <a:gd name="T42" fmla="*/ 435 w 534"/>
                <a:gd name="T43" fmla="*/ 418 h 1099"/>
                <a:gd name="T44" fmla="*/ 450 w 534"/>
                <a:gd name="T45" fmla="*/ 406 h 1099"/>
                <a:gd name="T46" fmla="*/ 465 w 534"/>
                <a:gd name="T47" fmla="*/ 396 h 1099"/>
                <a:gd name="T48" fmla="*/ 504 w 534"/>
                <a:gd name="T49" fmla="*/ 454 h 1099"/>
                <a:gd name="T50" fmla="*/ 329 w 534"/>
                <a:gd name="T51" fmla="*/ 0 h 1099"/>
                <a:gd name="T52" fmla="*/ 344 w 534"/>
                <a:gd name="T53" fmla="*/ 89 h 1099"/>
                <a:gd name="T54" fmla="*/ 305 w 534"/>
                <a:gd name="T55" fmla="*/ 111 h 1099"/>
                <a:gd name="T56" fmla="*/ 267 w 534"/>
                <a:gd name="T57" fmla="*/ 136 h 1099"/>
                <a:gd name="T58" fmla="*/ 231 w 534"/>
                <a:gd name="T59" fmla="*/ 164 h 1099"/>
                <a:gd name="T60" fmla="*/ 197 w 534"/>
                <a:gd name="T61" fmla="*/ 196 h 1099"/>
                <a:gd name="T62" fmla="*/ 165 w 534"/>
                <a:gd name="T63" fmla="*/ 229 h 1099"/>
                <a:gd name="T64" fmla="*/ 134 w 534"/>
                <a:gd name="T65" fmla="*/ 265 h 1099"/>
                <a:gd name="T66" fmla="*/ 107 w 534"/>
                <a:gd name="T67" fmla="*/ 303 h 1099"/>
                <a:gd name="T68" fmla="*/ 80 w 534"/>
                <a:gd name="T69" fmla="*/ 347 h 1099"/>
                <a:gd name="T70" fmla="*/ 55 w 534"/>
                <a:gd name="T71" fmla="*/ 395 h 1099"/>
                <a:gd name="T72" fmla="*/ 35 w 534"/>
                <a:gd name="T73" fmla="*/ 445 h 1099"/>
                <a:gd name="T74" fmla="*/ 20 w 534"/>
                <a:gd name="T75" fmla="*/ 496 h 1099"/>
                <a:gd name="T76" fmla="*/ 9 w 534"/>
                <a:gd name="T77" fmla="*/ 547 h 1099"/>
                <a:gd name="T78" fmla="*/ 2 w 534"/>
                <a:gd name="T79" fmla="*/ 599 h 1099"/>
                <a:gd name="T80" fmla="*/ 0 w 534"/>
                <a:gd name="T81" fmla="*/ 651 h 1099"/>
                <a:gd name="T82" fmla="*/ 2 w 534"/>
                <a:gd name="T83" fmla="*/ 702 h 1099"/>
                <a:gd name="T84" fmla="*/ 9 w 534"/>
                <a:gd name="T85" fmla="*/ 754 h 1099"/>
                <a:gd name="T86" fmla="*/ 19 w 534"/>
                <a:gd name="T87" fmla="*/ 804 h 1099"/>
                <a:gd name="T88" fmla="*/ 34 w 534"/>
                <a:gd name="T89" fmla="*/ 854 h 1099"/>
                <a:gd name="T90" fmla="*/ 52 w 534"/>
                <a:gd name="T91" fmla="*/ 903 h 1099"/>
                <a:gd name="T92" fmla="*/ 75 w 534"/>
                <a:gd name="T93" fmla="*/ 950 h 1099"/>
                <a:gd name="T94" fmla="*/ 102 w 534"/>
                <a:gd name="T95" fmla="*/ 995 h 1099"/>
                <a:gd name="T96" fmla="*/ 132 w 534"/>
                <a:gd name="T97" fmla="*/ 1039 h 1099"/>
                <a:gd name="T98" fmla="*/ 166 w 534"/>
                <a:gd name="T99" fmla="*/ 1080 h 1099"/>
                <a:gd name="T100" fmla="*/ 230 w 534"/>
                <a:gd name="T101" fmla="*/ 935 h 1099"/>
                <a:gd name="T102" fmla="*/ 398 w 534"/>
                <a:gd name="T103" fmla="*/ 870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4" h="1099">
                  <a:moveTo>
                    <a:pt x="398" y="870"/>
                  </a:moveTo>
                  <a:lnTo>
                    <a:pt x="390" y="860"/>
                  </a:lnTo>
                  <a:lnTo>
                    <a:pt x="382" y="850"/>
                  </a:lnTo>
                  <a:lnTo>
                    <a:pt x="375" y="840"/>
                  </a:lnTo>
                  <a:lnTo>
                    <a:pt x="368" y="830"/>
                  </a:lnTo>
                  <a:lnTo>
                    <a:pt x="361" y="819"/>
                  </a:lnTo>
                  <a:lnTo>
                    <a:pt x="355" y="808"/>
                  </a:lnTo>
                  <a:lnTo>
                    <a:pt x="349" y="797"/>
                  </a:lnTo>
                  <a:lnTo>
                    <a:pt x="344" y="786"/>
                  </a:lnTo>
                  <a:lnTo>
                    <a:pt x="340" y="774"/>
                  </a:lnTo>
                  <a:lnTo>
                    <a:pt x="335" y="763"/>
                  </a:lnTo>
                  <a:lnTo>
                    <a:pt x="332" y="751"/>
                  </a:lnTo>
                  <a:lnTo>
                    <a:pt x="328" y="739"/>
                  </a:lnTo>
                  <a:lnTo>
                    <a:pt x="326" y="727"/>
                  </a:lnTo>
                  <a:lnTo>
                    <a:pt x="323" y="715"/>
                  </a:lnTo>
                  <a:lnTo>
                    <a:pt x="321" y="702"/>
                  </a:lnTo>
                  <a:lnTo>
                    <a:pt x="320" y="690"/>
                  </a:lnTo>
                  <a:lnTo>
                    <a:pt x="319" y="678"/>
                  </a:lnTo>
                  <a:lnTo>
                    <a:pt x="319" y="665"/>
                  </a:lnTo>
                  <a:lnTo>
                    <a:pt x="319" y="653"/>
                  </a:lnTo>
                  <a:lnTo>
                    <a:pt x="319" y="640"/>
                  </a:lnTo>
                  <a:lnTo>
                    <a:pt x="320" y="628"/>
                  </a:lnTo>
                  <a:lnTo>
                    <a:pt x="322" y="616"/>
                  </a:lnTo>
                  <a:lnTo>
                    <a:pt x="324" y="603"/>
                  </a:lnTo>
                  <a:lnTo>
                    <a:pt x="327" y="591"/>
                  </a:lnTo>
                  <a:lnTo>
                    <a:pt x="330" y="579"/>
                  </a:lnTo>
                  <a:lnTo>
                    <a:pt x="333" y="566"/>
                  </a:lnTo>
                  <a:lnTo>
                    <a:pt x="337" y="554"/>
                  </a:lnTo>
                  <a:lnTo>
                    <a:pt x="342" y="542"/>
                  </a:lnTo>
                  <a:lnTo>
                    <a:pt x="347" y="530"/>
                  </a:lnTo>
                  <a:lnTo>
                    <a:pt x="353" y="519"/>
                  </a:lnTo>
                  <a:lnTo>
                    <a:pt x="359" y="507"/>
                  </a:lnTo>
                  <a:lnTo>
                    <a:pt x="366" y="496"/>
                  </a:lnTo>
                  <a:lnTo>
                    <a:pt x="371" y="488"/>
                  </a:lnTo>
                  <a:lnTo>
                    <a:pt x="377" y="480"/>
                  </a:lnTo>
                  <a:lnTo>
                    <a:pt x="383" y="472"/>
                  </a:lnTo>
                  <a:lnTo>
                    <a:pt x="389" y="464"/>
                  </a:lnTo>
                  <a:lnTo>
                    <a:pt x="395" y="457"/>
                  </a:lnTo>
                  <a:lnTo>
                    <a:pt x="401" y="450"/>
                  </a:lnTo>
                  <a:lnTo>
                    <a:pt x="408" y="443"/>
                  </a:lnTo>
                  <a:lnTo>
                    <a:pt x="414" y="436"/>
                  </a:lnTo>
                  <a:lnTo>
                    <a:pt x="421" y="430"/>
                  </a:lnTo>
                  <a:lnTo>
                    <a:pt x="428" y="424"/>
                  </a:lnTo>
                  <a:lnTo>
                    <a:pt x="435" y="418"/>
                  </a:lnTo>
                  <a:lnTo>
                    <a:pt x="443" y="412"/>
                  </a:lnTo>
                  <a:lnTo>
                    <a:pt x="450" y="406"/>
                  </a:lnTo>
                  <a:lnTo>
                    <a:pt x="458" y="401"/>
                  </a:lnTo>
                  <a:lnTo>
                    <a:pt x="465" y="396"/>
                  </a:lnTo>
                  <a:lnTo>
                    <a:pt x="473" y="391"/>
                  </a:lnTo>
                  <a:lnTo>
                    <a:pt x="504" y="454"/>
                  </a:lnTo>
                  <a:lnTo>
                    <a:pt x="534" y="185"/>
                  </a:lnTo>
                  <a:lnTo>
                    <a:pt x="329" y="0"/>
                  </a:lnTo>
                  <a:lnTo>
                    <a:pt x="363" y="79"/>
                  </a:lnTo>
                  <a:lnTo>
                    <a:pt x="344" y="89"/>
                  </a:lnTo>
                  <a:lnTo>
                    <a:pt x="324" y="99"/>
                  </a:lnTo>
                  <a:lnTo>
                    <a:pt x="305" y="111"/>
                  </a:lnTo>
                  <a:lnTo>
                    <a:pt x="286" y="123"/>
                  </a:lnTo>
                  <a:lnTo>
                    <a:pt x="267" y="136"/>
                  </a:lnTo>
                  <a:lnTo>
                    <a:pt x="249" y="150"/>
                  </a:lnTo>
                  <a:lnTo>
                    <a:pt x="231" y="164"/>
                  </a:lnTo>
                  <a:lnTo>
                    <a:pt x="214" y="180"/>
                  </a:lnTo>
                  <a:lnTo>
                    <a:pt x="197" y="196"/>
                  </a:lnTo>
                  <a:lnTo>
                    <a:pt x="180" y="212"/>
                  </a:lnTo>
                  <a:lnTo>
                    <a:pt x="165" y="229"/>
                  </a:lnTo>
                  <a:lnTo>
                    <a:pt x="149" y="247"/>
                  </a:lnTo>
                  <a:lnTo>
                    <a:pt x="134" y="265"/>
                  </a:lnTo>
                  <a:lnTo>
                    <a:pt x="120" y="284"/>
                  </a:lnTo>
                  <a:lnTo>
                    <a:pt x="107" y="303"/>
                  </a:lnTo>
                  <a:lnTo>
                    <a:pt x="94" y="323"/>
                  </a:lnTo>
                  <a:lnTo>
                    <a:pt x="80" y="347"/>
                  </a:lnTo>
                  <a:lnTo>
                    <a:pt x="67" y="371"/>
                  </a:lnTo>
                  <a:lnTo>
                    <a:pt x="55" y="395"/>
                  </a:lnTo>
                  <a:lnTo>
                    <a:pt x="45" y="420"/>
                  </a:lnTo>
                  <a:lnTo>
                    <a:pt x="35" y="445"/>
                  </a:lnTo>
                  <a:lnTo>
                    <a:pt x="27" y="470"/>
                  </a:lnTo>
                  <a:lnTo>
                    <a:pt x="20" y="496"/>
                  </a:lnTo>
                  <a:lnTo>
                    <a:pt x="14" y="521"/>
                  </a:lnTo>
                  <a:lnTo>
                    <a:pt x="9" y="547"/>
                  </a:lnTo>
                  <a:lnTo>
                    <a:pt x="5" y="573"/>
                  </a:lnTo>
                  <a:lnTo>
                    <a:pt x="2" y="599"/>
                  </a:lnTo>
                  <a:lnTo>
                    <a:pt x="1" y="625"/>
                  </a:lnTo>
                  <a:lnTo>
                    <a:pt x="0" y="651"/>
                  </a:lnTo>
                  <a:lnTo>
                    <a:pt x="1" y="676"/>
                  </a:lnTo>
                  <a:lnTo>
                    <a:pt x="2" y="702"/>
                  </a:lnTo>
                  <a:lnTo>
                    <a:pt x="5" y="728"/>
                  </a:lnTo>
                  <a:lnTo>
                    <a:pt x="9" y="754"/>
                  </a:lnTo>
                  <a:lnTo>
                    <a:pt x="13" y="779"/>
                  </a:lnTo>
                  <a:lnTo>
                    <a:pt x="19" y="804"/>
                  </a:lnTo>
                  <a:lnTo>
                    <a:pt x="26" y="830"/>
                  </a:lnTo>
                  <a:lnTo>
                    <a:pt x="34" y="854"/>
                  </a:lnTo>
                  <a:lnTo>
                    <a:pt x="43" y="879"/>
                  </a:lnTo>
                  <a:lnTo>
                    <a:pt x="52" y="903"/>
                  </a:lnTo>
                  <a:lnTo>
                    <a:pt x="63" y="927"/>
                  </a:lnTo>
                  <a:lnTo>
                    <a:pt x="75" y="950"/>
                  </a:lnTo>
                  <a:lnTo>
                    <a:pt x="88" y="973"/>
                  </a:lnTo>
                  <a:lnTo>
                    <a:pt x="102" y="995"/>
                  </a:lnTo>
                  <a:lnTo>
                    <a:pt x="116" y="1017"/>
                  </a:lnTo>
                  <a:lnTo>
                    <a:pt x="132" y="1039"/>
                  </a:lnTo>
                  <a:lnTo>
                    <a:pt x="149" y="1060"/>
                  </a:lnTo>
                  <a:lnTo>
                    <a:pt x="166" y="1080"/>
                  </a:lnTo>
                  <a:lnTo>
                    <a:pt x="185" y="1099"/>
                  </a:lnTo>
                  <a:lnTo>
                    <a:pt x="230" y="935"/>
                  </a:lnTo>
                  <a:lnTo>
                    <a:pt x="398" y="870"/>
                  </a:lnTo>
                  <a:lnTo>
                    <a:pt x="398" y="870"/>
                  </a:lnTo>
                  <a:close/>
                </a:path>
              </a:pathLst>
            </a:custGeom>
            <a:solidFill>
              <a:schemeClr val="bg1">
                <a:lumMod val="85000"/>
              </a:schemeClr>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34" name="Freeform 5">
              <a:extLst>
                <a:ext uri="{FF2B5EF4-FFF2-40B4-BE49-F238E27FC236}">
                  <a16:creationId xmlns:a16="http://schemas.microsoft.com/office/drawing/2014/main" id="{026BBFCB-590C-BDEC-719D-2342AA8DBDDC}"/>
                </a:ext>
              </a:extLst>
            </p:cNvPr>
            <p:cNvSpPr>
              <a:spLocks/>
            </p:cNvSpPr>
            <p:nvPr>
              <p:custDataLst>
                <p:tags r:id="rId3"/>
              </p:custDataLst>
            </p:nvPr>
          </p:nvSpPr>
          <p:spPr bwMode="auto">
            <a:xfrm rot="2315660">
              <a:off x="541641" y="4153153"/>
              <a:ext cx="4022822" cy="2005025"/>
            </a:xfrm>
            <a:custGeom>
              <a:avLst/>
              <a:gdLst>
                <a:gd name="T0" fmla="*/ 730 w 1037"/>
                <a:gd name="T1" fmla="*/ 11 h 526"/>
                <a:gd name="T2" fmla="*/ 719 w 1037"/>
                <a:gd name="T3" fmla="*/ 34 h 526"/>
                <a:gd name="T4" fmla="*/ 707 w 1037"/>
                <a:gd name="T5" fmla="*/ 56 h 526"/>
                <a:gd name="T6" fmla="*/ 693 w 1037"/>
                <a:gd name="T7" fmla="*/ 77 h 526"/>
                <a:gd name="T8" fmla="*/ 678 w 1037"/>
                <a:gd name="T9" fmla="*/ 96 h 526"/>
                <a:gd name="T10" fmla="*/ 661 w 1037"/>
                <a:gd name="T11" fmla="*/ 114 h 526"/>
                <a:gd name="T12" fmla="*/ 642 w 1037"/>
                <a:gd name="T13" fmla="*/ 131 h 526"/>
                <a:gd name="T14" fmla="*/ 623 w 1037"/>
                <a:gd name="T15" fmla="*/ 146 h 526"/>
                <a:gd name="T16" fmla="*/ 602 w 1037"/>
                <a:gd name="T17" fmla="*/ 160 h 526"/>
                <a:gd name="T18" fmla="*/ 580 w 1037"/>
                <a:gd name="T19" fmla="*/ 172 h 526"/>
                <a:gd name="T20" fmla="*/ 558 w 1037"/>
                <a:gd name="T21" fmla="*/ 182 h 526"/>
                <a:gd name="T22" fmla="*/ 534 w 1037"/>
                <a:gd name="T23" fmla="*/ 190 h 526"/>
                <a:gd name="T24" fmla="*/ 510 w 1037"/>
                <a:gd name="T25" fmla="*/ 197 h 526"/>
                <a:gd name="T26" fmla="*/ 484 w 1037"/>
                <a:gd name="T27" fmla="*/ 201 h 526"/>
                <a:gd name="T28" fmla="*/ 459 w 1037"/>
                <a:gd name="T29" fmla="*/ 204 h 526"/>
                <a:gd name="T30" fmla="*/ 432 w 1037"/>
                <a:gd name="T31" fmla="*/ 204 h 526"/>
                <a:gd name="T32" fmla="*/ 410 w 1037"/>
                <a:gd name="T33" fmla="*/ 203 h 526"/>
                <a:gd name="T34" fmla="*/ 391 w 1037"/>
                <a:gd name="T35" fmla="*/ 200 h 526"/>
                <a:gd name="T36" fmla="*/ 372 w 1037"/>
                <a:gd name="T37" fmla="*/ 196 h 526"/>
                <a:gd name="T38" fmla="*/ 353 w 1037"/>
                <a:gd name="T39" fmla="*/ 192 h 526"/>
                <a:gd name="T40" fmla="*/ 335 w 1037"/>
                <a:gd name="T41" fmla="*/ 186 h 526"/>
                <a:gd name="T42" fmla="*/ 318 w 1037"/>
                <a:gd name="T43" fmla="*/ 179 h 526"/>
                <a:gd name="T44" fmla="*/ 301 w 1037"/>
                <a:gd name="T45" fmla="*/ 171 h 526"/>
                <a:gd name="T46" fmla="*/ 285 w 1037"/>
                <a:gd name="T47" fmla="*/ 163 h 526"/>
                <a:gd name="T48" fmla="*/ 318 w 1037"/>
                <a:gd name="T49" fmla="*/ 101 h 526"/>
                <a:gd name="T50" fmla="*/ 0 w 1037"/>
                <a:gd name="T51" fmla="*/ 469 h 526"/>
                <a:gd name="T52" fmla="*/ 71 w 1037"/>
                <a:gd name="T53" fmla="*/ 414 h 526"/>
                <a:gd name="T54" fmla="*/ 108 w 1037"/>
                <a:gd name="T55" fmla="*/ 438 h 526"/>
                <a:gd name="T56" fmla="*/ 148 w 1037"/>
                <a:gd name="T57" fmla="*/ 460 h 526"/>
                <a:gd name="T58" fmla="*/ 190 w 1037"/>
                <a:gd name="T59" fmla="*/ 478 h 526"/>
                <a:gd name="T60" fmla="*/ 234 w 1037"/>
                <a:gd name="T61" fmla="*/ 494 h 526"/>
                <a:gd name="T62" fmla="*/ 279 w 1037"/>
                <a:gd name="T63" fmla="*/ 507 h 526"/>
                <a:gd name="T64" fmla="*/ 325 w 1037"/>
                <a:gd name="T65" fmla="*/ 516 h 526"/>
                <a:gd name="T66" fmla="*/ 371 w 1037"/>
                <a:gd name="T67" fmla="*/ 523 h 526"/>
                <a:gd name="T68" fmla="*/ 422 w 1037"/>
                <a:gd name="T69" fmla="*/ 526 h 526"/>
                <a:gd name="T70" fmla="*/ 476 w 1037"/>
                <a:gd name="T71" fmla="*/ 525 h 526"/>
                <a:gd name="T72" fmla="*/ 530 w 1037"/>
                <a:gd name="T73" fmla="*/ 519 h 526"/>
                <a:gd name="T74" fmla="*/ 582 w 1037"/>
                <a:gd name="T75" fmla="*/ 509 h 526"/>
                <a:gd name="T76" fmla="*/ 632 w 1037"/>
                <a:gd name="T77" fmla="*/ 495 h 526"/>
                <a:gd name="T78" fmla="*/ 681 w 1037"/>
                <a:gd name="T79" fmla="*/ 476 h 526"/>
                <a:gd name="T80" fmla="*/ 728 w 1037"/>
                <a:gd name="T81" fmla="*/ 454 h 526"/>
                <a:gd name="T82" fmla="*/ 773 w 1037"/>
                <a:gd name="T83" fmla="*/ 428 h 526"/>
                <a:gd name="T84" fmla="*/ 815 w 1037"/>
                <a:gd name="T85" fmla="*/ 398 h 526"/>
                <a:gd name="T86" fmla="*/ 855 w 1037"/>
                <a:gd name="T87" fmla="*/ 365 h 526"/>
                <a:gd name="T88" fmla="*/ 892 w 1037"/>
                <a:gd name="T89" fmla="*/ 329 h 526"/>
                <a:gd name="T90" fmla="*/ 926 w 1037"/>
                <a:gd name="T91" fmla="*/ 289 h 526"/>
                <a:gd name="T92" fmla="*/ 957 w 1037"/>
                <a:gd name="T93" fmla="*/ 247 h 526"/>
                <a:gd name="T94" fmla="*/ 985 w 1037"/>
                <a:gd name="T95" fmla="*/ 202 h 526"/>
                <a:gd name="T96" fmla="*/ 1009 w 1037"/>
                <a:gd name="T97" fmla="*/ 155 h 526"/>
                <a:gd name="T98" fmla="*/ 1029 w 1037"/>
                <a:gd name="T99" fmla="*/ 106 h 526"/>
                <a:gd name="T100" fmla="*/ 872 w 1037"/>
                <a:gd name="T101" fmla="*/ 117 h 526"/>
                <a:gd name="T102" fmla="*/ 735 w 1037"/>
                <a:gd name="T103"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7" h="526">
                  <a:moveTo>
                    <a:pt x="735" y="0"/>
                  </a:moveTo>
                  <a:lnTo>
                    <a:pt x="730" y="11"/>
                  </a:lnTo>
                  <a:lnTo>
                    <a:pt x="725" y="23"/>
                  </a:lnTo>
                  <a:lnTo>
                    <a:pt x="719" y="34"/>
                  </a:lnTo>
                  <a:lnTo>
                    <a:pt x="713" y="45"/>
                  </a:lnTo>
                  <a:lnTo>
                    <a:pt x="707" y="56"/>
                  </a:lnTo>
                  <a:lnTo>
                    <a:pt x="700" y="67"/>
                  </a:lnTo>
                  <a:lnTo>
                    <a:pt x="693" y="77"/>
                  </a:lnTo>
                  <a:lnTo>
                    <a:pt x="686" y="87"/>
                  </a:lnTo>
                  <a:lnTo>
                    <a:pt x="678" y="96"/>
                  </a:lnTo>
                  <a:lnTo>
                    <a:pt x="669" y="105"/>
                  </a:lnTo>
                  <a:lnTo>
                    <a:pt x="661" y="114"/>
                  </a:lnTo>
                  <a:lnTo>
                    <a:pt x="652" y="123"/>
                  </a:lnTo>
                  <a:lnTo>
                    <a:pt x="642" y="131"/>
                  </a:lnTo>
                  <a:lnTo>
                    <a:pt x="633" y="139"/>
                  </a:lnTo>
                  <a:lnTo>
                    <a:pt x="623" y="146"/>
                  </a:lnTo>
                  <a:lnTo>
                    <a:pt x="613" y="153"/>
                  </a:lnTo>
                  <a:lnTo>
                    <a:pt x="602" y="160"/>
                  </a:lnTo>
                  <a:lnTo>
                    <a:pt x="591" y="166"/>
                  </a:lnTo>
                  <a:lnTo>
                    <a:pt x="580" y="172"/>
                  </a:lnTo>
                  <a:lnTo>
                    <a:pt x="569" y="177"/>
                  </a:lnTo>
                  <a:lnTo>
                    <a:pt x="558" y="182"/>
                  </a:lnTo>
                  <a:lnTo>
                    <a:pt x="546" y="186"/>
                  </a:lnTo>
                  <a:lnTo>
                    <a:pt x="534" y="190"/>
                  </a:lnTo>
                  <a:lnTo>
                    <a:pt x="522" y="194"/>
                  </a:lnTo>
                  <a:lnTo>
                    <a:pt x="510" y="197"/>
                  </a:lnTo>
                  <a:lnTo>
                    <a:pt x="497" y="199"/>
                  </a:lnTo>
                  <a:lnTo>
                    <a:pt x="484" y="201"/>
                  </a:lnTo>
                  <a:lnTo>
                    <a:pt x="472" y="203"/>
                  </a:lnTo>
                  <a:lnTo>
                    <a:pt x="459" y="204"/>
                  </a:lnTo>
                  <a:lnTo>
                    <a:pt x="446" y="204"/>
                  </a:lnTo>
                  <a:lnTo>
                    <a:pt x="432" y="204"/>
                  </a:lnTo>
                  <a:lnTo>
                    <a:pt x="419" y="203"/>
                  </a:lnTo>
                  <a:lnTo>
                    <a:pt x="410" y="203"/>
                  </a:lnTo>
                  <a:lnTo>
                    <a:pt x="400" y="201"/>
                  </a:lnTo>
                  <a:lnTo>
                    <a:pt x="391" y="200"/>
                  </a:lnTo>
                  <a:lnTo>
                    <a:pt x="381" y="198"/>
                  </a:lnTo>
                  <a:lnTo>
                    <a:pt x="372" y="196"/>
                  </a:lnTo>
                  <a:lnTo>
                    <a:pt x="363" y="194"/>
                  </a:lnTo>
                  <a:lnTo>
                    <a:pt x="353" y="192"/>
                  </a:lnTo>
                  <a:lnTo>
                    <a:pt x="344" y="189"/>
                  </a:lnTo>
                  <a:lnTo>
                    <a:pt x="335" y="186"/>
                  </a:lnTo>
                  <a:lnTo>
                    <a:pt x="327" y="182"/>
                  </a:lnTo>
                  <a:lnTo>
                    <a:pt x="318" y="179"/>
                  </a:lnTo>
                  <a:lnTo>
                    <a:pt x="309" y="175"/>
                  </a:lnTo>
                  <a:lnTo>
                    <a:pt x="301" y="171"/>
                  </a:lnTo>
                  <a:lnTo>
                    <a:pt x="293" y="167"/>
                  </a:lnTo>
                  <a:lnTo>
                    <a:pt x="285" y="163"/>
                  </a:lnTo>
                  <a:lnTo>
                    <a:pt x="277" y="158"/>
                  </a:lnTo>
                  <a:lnTo>
                    <a:pt x="318" y="101"/>
                  </a:lnTo>
                  <a:lnTo>
                    <a:pt x="67" y="201"/>
                  </a:lnTo>
                  <a:lnTo>
                    <a:pt x="0" y="469"/>
                  </a:lnTo>
                  <a:lnTo>
                    <a:pt x="53" y="401"/>
                  </a:lnTo>
                  <a:lnTo>
                    <a:pt x="71" y="414"/>
                  </a:lnTo>
                  <a:lnTo>
                    <a:pt x="89" y="427"/>
                  </a:lnTo>
                  <a:lnTo>
                    <a:pt x="108" y="438"/>
                  </a:lnTo>
                  <a:lnTo>
                    <a:pt x="128" y="449"/>
                  </a:lnTo>
                  <a:lnTo>
                    <a:pt x="148" y="460"/>
                  </a:lnTo>
                  <a:lnTo>
                    <a:pt x="169" y="469"/>
                  </a:lnTo>
                  <a:lnTo>
                    <a:pt x="190" y="478"/>
                  </a:lnTo>
                  <a:lnTo>
                    <a:pt x="212" y="486"/>
                  </a:lnTo>
                  <a:lnTo>
                    <a:pt x="234" y="494"/>
                  </a:lnTo>
                  <a:lnTo>
                    <a:pt x="256" y="501"/>
                  </a:lnTo>
                  <a:lnTo>
                    <a:pt x="279" y="507"/>
                  </a:lnTo>
                  <a:lnTo>
                    <a:pt x="302" y="512"/>
                  </a:lnTo>
                  <a:lnTo>
                    <a:pt x="325" y="516"/>
                  </a:lnTo>
                  <a:lnTo>
                    <a:pt x="348" y="520"/>
                  </a:lnTo>
                  <a:lnTo>
                    <a:pt x="371" y="523"/>
                  </a:lnTo>
                  <a:lnTo>
                    <a:pt x="395" y="525"/>
                  </a:lnTo>
                  <a:lnTo>
                    <a:pt x="422" y="526"/>
                  </a:lnTo>
                  <a:lnTo>
                    <a:pt x="449" y="526"/>
                  </a:lnTo>
                  <a:lnTo>
                    <a:pt x="476" y="525"/>
                  </a:lnTo>
                  <a:lnTo>
                    <a:pt x="503" y="523"/>
                  </a:lnTo>
                  <a:lnTo>
                    <a:pt x="530" y="519"/>
                  </a:lnTo>
                  <a:lnTo>
                    <a:pt x="556" y="515"/>
                  </a:lnTo>
                  <a:lnTo>
                    <a:pt x="582" y="509"/>
                  </a:lnTo>
                  <a:lnTo>
                    <a:pt x="607" y="503"/>
                  </a:lnTo>
                  <a:lnTo>
                    <a:pt x="632" y="495"/>
                  </a:lnTo>
                  <a:lnTo>
                    <a:pt x="657" y="486"/>
                  </a:lnTo>
                  <a:lnTo>
                    <a:pt x="681" y="476"/>
                  </a:lnTo>
                  <a:lnTo>
                    <a:pt x="705" y="466"/>
                  </a:lnTo>
                  <a:lnTo>
                    <a:pt x="728" y="454"/>
                  </a:lnTo>
                  <a:lnTo>
                    <a:pt x="750" y="441"/>
                  </a:lnTo>
                  <a:lnTo>
                    <a:pt x="773" y="428"/>
                  </a:lnTo>
                  <a:lnTo>
                    <a:pt x="794" y="413"/>
                  </a:lnTo>
                  <a:lnTo>
                    <a:pt x="815" y="398"/>
                  </a:lnTo>
                  <a:lnTo>
                    <a:pt x="835" y="382"/>
                  </a:lnTo>
                  <a:lnTo>
                    <a:pt x="855" y="365"/>
                  </a:lnTo>
                  <a:lnTo>
                    <a:pt x="874" y="347"/>
                  </a:lnTo>
                  <a:lnTo>
                    <a:pt x="892" y="329"/>
                  </a:lnTo>
                  <a:lnTo>
                    <a:pt x="909" y="309"/>
                  </a:lnTo>
                  <a:lnTo>
                    <a:pt x="926" y="289"/>
                  </a:lnTo>
                  <a:lnTo>
                    <a:pt x="942" y="269"/>
                  </a:lnTo>
                  <a:lnTo>
                    <a:pt x="957" y="247"/>
                  </a:lnTo>
                  <a:lnTo>
                    <a:pt x="971" y="225"/>
                  </a:lnTo>
                  <a:lnTo>
                    <a:pt x="985" y="202"/>
                  </a:lnTo>
                  <a:lnTo>
                    <a:pt x="997" y="179"/>
                  </a:lnTo>
                  <a:lnTo>
                    <a:pt x="1009" y="155"/>
                  </a:lnTo>
                  <a:lnTo>
                    <a:pt x="1019" y="131"/>
                  </a:lnTo>
                  <a:lnTo>
                    <a:pt x="1029" y="106"/>
                  </a:lnTo>
                  <a:lnTo>
                    <a:pt x="1037" y="80"/>
                  </a:lnTo>
                  <a:lnTo>
                    <a:pt x="872" y="117"/>
                  </a:lnTo>
                  <a:lnTo>
                    <a:pt x="735" y="0"/>
                  </a:lnTo>
                  <a:lnTo>
                    <a:pt x="735" y="0"/>
                  </a:lnTo>
                  <a:close/>
                </a:path>
              </a:pathLst>
            </a:custGeom>
            <a:solidFill>
              <a:schemeClr val="bg1">
                <a:lumMod val="85000"/>
              </a:schemeClr>
            </a:solidFill>
            <a:ln w="1143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35" name="Freeform 4">
              <a:extLst>
                <a:ext uri="{FF2B5EF4-FFF2-40B4-BE49-F238E27FC236}">
                  <a16:creationId xmlns:a16="http://schemas.microsoft.com/office/drawing/2014/main" id="{7238AFB5-DFEC-89C5-82A1-FCB7A2CF351A}"/>
                </a:ext>
              </a:extLst>
            </p:cNvPr>
            <p:cNvSpPr>
              <a:spLocks/>
            </p:cNvSpPr>
            <p:nvPr>
              <p:custDataLst>
                <p:tags r:id="rId4"/>
              </p:custDataLst>
            </p:nvPr>
          </p:nvSpPr>
          <p:spPr bwMode="auto">
            <a:xfrm rot="2243846">
              <a:off x="2785322" y="2246716"/>
              <a:ext cx="3454520" cy="3128859"/>
            </a:xfrm>
            <a:custGeom>
              <a:avLst/>
              <a:gdLst>
                <a:gd name="T0" fmla="*/ 125 w 893"/>
                <a:gd name="T1" fmla="*/ 323 h 826"/>
                <a:gd name="T2" fmla="*/ 151 w 893"/>
                <a:gd name="T3" fmla="*/ 323 h 826"/>
                <a:gd name="T4" fmla="*/ 177 w 893"/>
                <a:gd name="T5" fmla="*/ 324 h 826"/>
                <a:gd name="T6" fmla="*/ 204 w 893"/>
                <a:gd name="T7" fmla="*/ 327 h 826"/>
                <a:gd name="T8" fmla="*/ 230 w 893"/>
                <a:gd name="T9" fmla="*/ 331 h 826"/>
                <a:gd name="T10" fmla="*/ 257 w 893"/>
                <a:gd name="T11" fmla="*/ 338 h 826"/>
                <a:gd name="T12" fmla="*/ 282 w 893"/>
                <a:gd name="T13" fmla="*/ 346 h 826"/>
                <a:gd name="T14" fmla="*/ 308 w 893"/>
                <a:gd name="T15" fmla="*/ 356 h 826"/>
                <a:gd name="T16" fmla="*/ 332 w 893"/>
                <a:gd name="T17" fmla="*/ 367 h 826"/>
                <a:gd name="T18" fmla="*/ 355 w 893"/>
                <a:gd name="T19" fmla="*/ 380 h 826"/>
                <a:gd name="T20" fmla="*/ 377 w 893"/>
                <a:gd name="T21" fmla="*/ 395 h 826"/>
                <a:gd name="T22" fmla="*/ 398 w 893"/>
                <a:gd name="T23" fmla="*/ 412 h 826"/>
                <a:gd name="T24" fmla="*/ 417 w 893"/>
                <a:gd name="T25" fmla="*/ 430 h 826"/>
                <a:gd name="T26" fmla="*/ 434 w 893"/>
                <a:gd name="T27" fmla="*/ 450 h 826"/>
                <a:gd name="T28" fmla="*/ 449 w 893"/>
                <a:gd name="T29" fmla="*/ 472 h 826"/>
                <a:gd name="T30" fmla="*/ 461 w 893"/>
                <a:gd name="T31" fmla="*/ 495 h 826"/>
                <a:gd name="T32" fmla="*/ 473 w 893"/>
                <a:gd name="T33" fmla="*/ 526 h 826"/>
                <a:gd name="T34" fmla="*/ 484 w 893"/>
                <a:gd name="T35" fmla="*/ 563 h 826"/>
                <a:gd name="T36" fmla="*/ 488 w 893"/>
                <a:gd name="T37" fmla="*/ 581 h 826"/>
                <a:gd name="T38" fmla="*/ 491 w 893"/>
                <a:gd name="T39" fmla="*/ 600 h 826"/>
                <a:gd name="T40" fmla="*/ 492 w 893"/>
                <a:gd name="T41" fmla="*/ 619 h 826"/>
                <a:gd name="T42" fmla="*/ 493 w 893"/>
                <a:gd name="T43" fmla="*/ 637 h 826"/>
                <a:gd name="T44" fmla="*/ 492 w 893"/>
                <a:gd name="T45" fmla="*/ 655 h 826"/>
                <a:gd name="T46" fmla="*/ 623 w 893"/>
                <a:gd name="T47" fmla="*/ 826 h 826"/>
                <a:gd name="T48" fmla="*/ 809 w 893"/>
                <a:gd name="T49" fmla="*/ 750 h 826"/>
                <a:gd name="T50" fmla="*/ 816 w 893"/>
                <a:gd name="T51" fmla="*/ 706 h 826"/>
                <a:gd name="T52" fmla="*/ 819 w 893"/>
                <a:gd name="T53" fmla="*/ 662 h 826"/>
                <a:gd name="T54" fmla="*/ 819 w 893"/>
                <a:gd name="T55" fmla="*/ 616 h 826"/>
                <a:gd name="T56" fmla="*/ 816 w 893"/>
                <a:gd name="T57" fmla="*/ 570 h 826"/>
                <a:gd name="T58" fmla="*/ 809 w 893"/>
                <a:gd name="T59" fmla="*/ 524 h 826"/>
                <a:gd name="T60" fmla="*/ 799 w 893"/>
                <a:gd name="T61" fmla="*/ 478 h 826"/>
                <a:gd name="T62" fmla="*/ 786 w 893"/>
                <a:gd name="T63" fmla="*/ 433 h 826"/>
                <a:gd name="T64" fmla="*/ 770 w 893"/>
                <a:gd name="T65" fmla="*/ 389 h 826"/>
                <a:gd name="T66" fmla="*/ 758 w 893"/>
                <a:gd name="T67" fmla="*/ 362 h 826"/>
                <a:gd name="T68" fmla="*/ 745 w 893"/>
                <a:gd name="T69" fmla="*/ 337 h 826"/>
                <a:gd name="T70" fmla="*/ 731 w 893"/>
                <a:gd name="T71" fmla="*/ 311 h 826"/>
                <a:gd name="T72" fmla="*/ 716 w 893"/>
                <a:gd name="T73" fmla="*/ 287 h 826"/>
                <a:gd name="T74" fmla="*/ 700 w 893"/>
                <a:gd name="T75" fmla="*/ 263 h 826"/>
                <a:gd name="T76" fmla="*/ 682 w 893"/>
                <a:gd name="T77" fmla="*/ 241 h 826"/>
                <a:gd name="T78" fmla="*/ 645 w 893"/>
                <a:gd name="T79" fmla="*/ 198 h 826"/>
                <a:gd name="T80" fmla="*/ 604 w 893"/>
                <a:gd name="T81" fmla="*/ 159 h 826"/>
                <a:gd name="T82" fmla="*/ 560 w 893"/>
                <a:gd name="T83" fmla="*/ 123 h 826"/>
                <a:gd name="T84" fmla="*/ 512 w 893"/>
                <a:gd name="T85" fmla="*/ 92 h 826"/>
                <a:gd name="T86" fmla="*/ 462 w 893"/>
                <a:gd name="T87" fmla="*/ 65 h 826"/>
                <a:gd name="T88" fmla="*/ 410 w 893"/>
                <a:gd name="T89" fmla="*/ 42 h 826"/>
                <a:gd name="T90" fmla="*/ 355 w 893"/>
                <a:gd name="T91" fmla="*/ 24 h 826"/>
                <a:gd name="T92" fmla="*/ 299 w 893"/>
                <a:gd name="T93" fmla="*/ 11 h 826"/>
                <a:gd name="T94" fmla="*/ 241 w 893"/>
                <a:gd name="T95" fmla="*/ 3 h 826"/>
                <a:gd name="T96" fmla="*/ 211 w 893"/>
                <a:gd name="T97" fmla="*/ 1 h 826"/>
                <a:gd name="T98" fmla="*/ 181 w 893"/>
                <a:gd name="T99" fmla="*/ 0 h 826"/>
                <a:gd name="T100" fmla="*/ 151 w 893"/>
                <a:gd name="T101" fmla="*/ 0 h 826"/>
                <a:gd name="T102" fmla="*/ 121 w 893"/>
                <a:gd name="T103" fmla="*/ 2 h 826"/>
                <a:gd name="T104" fmla="*/ 91 w 893"/>
                <a:gd name="T105" fmla="*/ 6 h 826"/>
                <a:gd name="T106" fmla="*/ 61 w 893"/>
                <a:gd name="T107" fmla="*/ 10 h 826"/>
                <a:gd name="T108" fmla="*/ 30 w 893"/>
                <a:gd name="T109" fmla="*/ 17 h 826"/>
                <a:gd name="T110" fmla="*/ 0 w 893"/>
                <a:gd name="T111" fmla="*/ 24 h 826"/>
                <a:gd name="T112" fmla="*/ 112 w 893"/>
                <a:gd name="T113" fmla="*/ 3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3" h="826">
                  <a:moveTo>
                    <a:pt x="112" y="325"/>
                  </a:moveTo>
                  <a:lnTo>
                    <a:pt x="125" y="323"/>
                  </a:lnTo>
                  <a:lnTo>
                    <a:pt x="138" y="323"/>
                  </a:lnTo>
                  <a:lnTo>
                    <a:pt x="151" y="323"/>
                  </a:lnTo>
                  <a:lnTo>
                    <a:pt x="164" y="323"/>
                  </a:lnTo>
                  <a:lnTo>
                    <a:pt x="177" y="324"/>
                  </a:lnTo>
                  <a:lnTo>
                    <a:pt x="190" y="325"/>
                  </a:lnTo>
                  <a:lnTo>
                    <a:pt x="204" y="327"/>
                  </a:lnTo>
                  <a:lnTo>
                    <a:pt x="217" y="329"/>
                  </a:lnTo>
                  <a:lnTo>
                    <a:pt x="230" y="331"/>
                  </a:lnTo>
                  <a:lnTo>
                    <a:pt x="243" y="334"/>
                  </a:lnTo>
                  <a:lnTo>
                    <a:pt x="257" y="338"/>
                  </a:lnTo>
                  <a:lnTo>
                    <a:pt x="270" y="341"/>
                  </a:lnTo>
                  <a:lnTo>
                    <a:pt x="282" y="346"/>
                  </a:lnTo>
                  <a:lnTo>
                    <a:pt x="295" y="350"/>
                  </a:lnTo>
                  <a:lnTo>
                    <a:pt x="308" y="356"/>
                  </a:lnTo>
                  <a:lnTo>
                    <a:pt x="320" y="361"/>
                  </a:lnTo>
                  <a:lnTo>
                    <a:pt x="332" y="367"/>
                  </a:lnTo>
                  <a:lnTo>
                    <a:pt x="344" y="374"/>
                  </a:lnTo>
                  <a:lnTo>
                    <a:pt x="355" y="380"/>
                  </a:lnTo>
                  <a:lnTo>
                    <a:pt x="367" y="388"/>
                  </a:lnTo>
                  <a:lnTo>
                    <a:pt x="377" y="395"/>
                  </a:lnTo>
                  <a:lnTo>
                    <a:pt x="388" y="404"/>
                  </a:lnTo>
                  <a:lnTo>
                    <a:pt x="398" y="412"/>
                  </a:lnTo>
                  <a:lnTo>
                    <a:pt x="408" y="421"/>
                  </a:lnTo>
                  <a:lnTo>
                    <a:pt x="417" y="430"/>
                  </a:lnTo>
                  <a:lnTo>
                    <a:pt x="426" y="440"/>
                  </a:lnTo>
                  <a:lnTo>
                    <a:pt x="434" y="450"/>
                  </a:lnTo>
                  <a:lnTo>
                    <a:pt x="442" y="461"/>
                  </a:lnTo>
                  <a:lnTo>
                    <a:pt x="449" y="472"/>
                  </a:lnTo>
                  <a:lnTo>
                    <a:pt x="455" y="484"/>
                  </a:lnTo>
                  <a:lnTo>
                    <a:pt x="461" y="495"/>
                  </a:lnTo>
                  <a:lnTo>
                    <a:pt x="467" y="508"/>
                  </a:lnTo>
                  <a:lnTo>
                    <a:pt x="473" y="526"/>
                  </a:lnTo>
                  <a:lnTo>
                    <a:pt x="479" y="544"/>
                  </a:lnTo>
                  <a:lnTo>
                    <a:pt x="484" y="563"/>
                  </a:lnTo>
                  <a:lnTo>
                    <a:pt x="486" y="572"/>
                  </a:lnTo>
                  <a:lnTo>
                    <a:pt x="488" y="581"/>
                  </a:lnTo>
                  <a:lnTo>
                    <a:pt x="490" y="591"/>
                  </a:lnTo>
                  <a:lnTo>
                    <a:pt x="491" y="600"/>
                  </a:lnTo>
                  <a:lnTo>
                    <a:pt x="492" y="609"/>
                  </a:lnTo>
                  <a:lnTo>
                    <a:pt x="492" y="619"/>
                  </a:lnTo>
                  <a:lnTo>
                    <a:pt x="493" y="628"/>
                  </a:lnTo>
                  <a:lnTo>
                    <a:pt x="493" y="637"/>
                  </a:lnTo>
                  <a:lnTo>
                    <a:pt x="492" y="646"/>
                  </a:lnTo>
                  <a:lnTo>
                    <a:pt x="492" y="655"/>
                  </a:lnTo>
                  <a:lnTo>
                    <a:pt x="422" y="644"/>
                  </a:lnTo>
                  <a:lnTo>
                    <a:pt x="623" y="826"/>
                  </a:lnTo>
                  <a:lnTo>
                    <a:pt x="893" y="768"/>
                  </a:lnTo>
                  <a:lnTo>
                    <a:pt x="809" y="750"/>
                  </a:lnTo>
                  <a:lnTo>
                    <a:pt x="813" y="728"/>
                  </a:lnTo>
                  <a:lnTo>
                    <a:pt x="816" y="706"/>
                  </a:lnTo>
                  <a:lnTo>
                    <a:pt x="818" y="684"/>
                  </a:lnTo>
                  <a:lnTo>
                    <a:pt x="819" y="662"/>
                  </a:lnTo>
                  <a:lnTo>
                    <a:pt x="819" y="639"/>
                  </a:lnTo>
                  <a:lnTo>
                    <a:pt x="819" y="616"/>
                  </a:lnTo>
                  <a:lnTo>
                    <a:pt x="818" y="593"/>
                  </a:lnTo>
                  <a:lnTo>
                    <a:pt x="816" y="570"/>
                  </a:lnTo>
                  <a:lnTo>
                    <a:pt x="813" y="547"/>
                  </a:lnTo>
                  <a:lnTo>
                    <a:pt x="809" y="524"/>
                  </a:lnTo>
                  <a:lnTo>
                    <a:pt x="804" y="501"/>
                  </a:lnTo>
                  <a:lnTo>
                    <a:pt x="799" y="478"/>
                  </a:lnTo>
                  <a:lnTo>
                    <a:pt x="793" y="455"/>
                  </a:lnTo>
                  <a:lnTo>
                    <a:pt x="786" y="433"/>
                  </a:lnTo>
                  <a:lnTo>
                    <a:pt x="778" y="411"/>
                  </a:lnTo>
                  <a:lnTo>
                    <a:pt x="770" y="389"/>
                  </a:lnTo>
                  <a:lnTo>
                    <a:pt x="764" y="376"/>
                  </a:lnTo>
                  <a:lnTo>
                    <a:pt x="758" y="362"/>
                  </a:lnTo>
                  <a:lnTo>
                    <a:pt x="752" y="349"/>
                  </a:lnTo>
                  <a:lnTo>
                    <a:pt x="745" y="337"/>
                  </a:lnTo>
                  <a:lnTo>
                    <a:pt x="738" y="324"/>
                  </a:lnTo>
                  <a:lnTo>
                    <a:pt x="731" y="311"/>
                  </a:lnTo>
                  <a:lnTo>
                    <a:pt x="723" y="299"/>
                  </a:lnTo>
                  <a:lnTo>
                    <a:pt x="716" y="287"/>
                  </a:lnTo>
                  <a:lnTo>
                    <a:pt x="708" y="275"/>
                  </a:lnTo>
                  <a:lnTo>
                    <a:pt x="700" y="263"/>
                  </a:lnTo>
                  <a:lnTo>
                    <a:pt x="691" y="252"/>
                  </a:lnTo>
                  <a:lnTo>
                    <a:pt x="682" y="241"/>
                  </a:lnTo>
                  <a:lnTo>
                    <a:pt x="664" y="219"/>
                  </a:lnTo>
                  <a:lnTo>
                    <a:pt x="645" y="198"/>
                  </a:lnTo>
                  <a:lnTo>
                    <a:pt x="625" y="178"/>
                  </a:lnTo>
                  <a:lnTo>
                    <a:pt x="604" y="159"/>
                  </a:lnTo>
                  <a:lnTo>
                    <a:pt x="582" y="141"/>
                  </a:lnTo>
                  <a:lnTo>
                    <a:pt x="560" y="123"/>
                  </a:lnTo>
                  <a:lnTo>
                    <a:pt x="536" y="107"/>
                  </a:lnTo>
                  <a:lnTo>
                    <a:pt x="512" y="92"/>
                  </a:lnTo>
                  <a:lnTo>
                    <a:pt x="488" y="78"/>
                  </a:lnTo>
                  <a:lnTo>
                    <a:pt x="462" y="65"/>
                  </a:lnTo>
                  <a:lnTo>
                    <a:pt x="436" y="53"/>
                  </a:lnTo>
                  <a:lnTo>
                    <a:pt x="410" y="42"/>
                  </a:lnTo>
                  <a:lnTo>
                    <a:pt x="383" y="33"/>
                  </a:lnTo>
                  <a:lnTo>
                    <a:pt x="355" y="24"/>
                  </a:lnTo>
                  <a:lnTo>
                    <a:pt x="327" y="17"/>
                  </a:lnTo>
                  <a:lnTo>
                    <a:pt x="299" y="11"/>
                  </a:lnTo>
                  <a:lnTo>
                    <a:pt x="270" y="6"/>
                  </a:lnTo>
                  <a:lnTo>
                    <a:pt x="241" y="3"/>
                  </a:lnTo>
                  <a:lnTo>
                    <a:pt x="226" y="2"/>
                  </a:lnTo>
                  <a:lnTo>
                    <a:pt x="211" y="1"/>
                  </a:lnTo>
                  <a:lnTo>
                    <a:pt x="196" y="0"/>
                  </a:lnTo>
                  <a:lnTo>
                    <a:pt x="181" y="0"/>
                  </a:lnTo>
                  <a:lnTo>
                    <a:pt x="166" y="0"/>
                  </a:lnTo>
                  <a:lnTo>
                    <a:pt x="151" y="0"/>
                  </a:lnTo>
                  <a:lnTo>
                    <a:pt x="136" y="1"/>
                  </a:lnTo>
                  <a:lnTo>
                    <a:pt x="121" y="2"/>
                  </a:lnTo>
                  <a:lnTo>
                    <a:pt x="106" y="4"/>
                  </a:lnTo>
                  <a:lnTo>
                    <a:pt x="91" y="6"/>
                  </a:lnTo>
                  <a:lnTo>
                    <a:pt x="76" y="8"/>
                  </a:lnTo>
                  <a:lnTo>
                    <a:pt x="61" y="10"/>
                  </a:lnTo>
                  <a:lnTo>
                    <a:pt x="45" y="13"/>
                  </a:lnTo>
                  <a:lnTo>
                    <a:pt x="30" y="17"/>
                  </a:lnTo>
                  <a:lnTo>
                    <a:pt x="15" y="20"/>
                  </a:lnTo>
                  <a:lnTo>
                    <a:pt x="0" y="24"/>
                  </a:lnTo>
                  <a:lnTo>
                    <a:pt x="135" y="154"/>
                  </a:lnTo>
                  <a:lnTo>
                    <a:pt x="112" y="325"/>
                  </a:lnTo>
                  <a:lnTo>
                    <a:pt x="112" y="325"/>
                  </a:lnTo>
                  <a:close/>
                </a:path>
              </a:pathLst>
            </a:custGeom>
            <a:solidFill>
              <a:srgbClr val="9AA4C3"/>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36" name="TextBox 35">
              <a:extLst>
                <a:ext uri="{FF2B5EF4-FFF2-40B4-BE49-F238E27FC236}">
                  <a16:creationId xmlns:a16="http://schemas.microsoft.com/office/drawing/2014/main" id="{41F78CA8-AF63-1362-1619-BE36E74F47BC}"/>
                </a:ext>
              </a:extLst>
            </p:cNvPr>
            <p:cNvSpPr txBox="1"/>
            <p:nvPr/>
          </p:nvSpPr>
          <p:spPr>
            <a:xfrm rot="20514076">
              <a:off x="1323245" y="1878150"/>
              <a:ext cx="3785064" cy="3814007"/>
            </a:xfrm>
            <a:prstGeom prst="rect">
              <a:avLst/>
            </a:prstGeom>
            <a:noFill/>
            <a:ln w="28575">
              <a:noFill/>
            </a:ln>
          </p:spPr>
          <p:txBody>
            <a:bodyPr wrap="square" lIns="109728" tIns="54864" rIns="109728" bIns="54864" rtlCol="0">
              <a:prstTxWarp prst="textArchUp">
                <a:avLst>
                  <a:gd name="adj" fmla="val 5811603"/>
                </a:avLst>
              </a:prstTxWarp>
              <a:spAutoFit/>
            </a:bodyPr>
            <a:lstStyle/>
            <a:p>
              <a:r>
                <a:rPr lang="en-US" sz="2000" b="1" dirty="0">
                  <a:solidFill>
                    <a:schemeClr val="bg1"/>
                  </a:solidFill>
                </a:rPr>
                <a:t>IDENTIFY LEADERS           INVEST &amp; DEVELOP             FORECAST VACANCIES       </a:t>
              </a:r>
            </a:p>
          </p:txBody>
        </p:sp>
      </p:grpSp>
    </p:spTree>
    <p:extLst>
      <p:ext uri="{BB962C8B-B14F-4D97-AF65-F5344CB8AC3E}">
        <p14:creationId xmlns:p14="http://schemas.microsoft.com/office/powerpoint/2010/main" val="6193590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D277DFC-F56A-58F7-FC21-3F26092ECBD3}"/>
              </a:ext>
            </a:extLst>
          </p:cNvPr>
          <p:cNvGraphicFramePr>
            <a:graphicFrameLocks noChangeAspect="1"/>
          </p:cNvGraphicFramePr>
          <p:nvPr>
            <p:custDataLst>
              <p:tags r:id="rId1"/>
            </p:custDataLst>
            <p:extLst>
              <p:ext uri="{D42A27DB-BD31-4B8C-83A1-F6EECF244321}">
                <p14:modId xmlns:p14="http://schemas.microsoft.com/office/powerpoint/2010/main" val="166385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1" name="think-cell data - do not delete" hidden="1">
                        <a:extLst>
                          <a:ext uri="{FF2B5EF4-FFF2-40B4-BE49-F238E27FC236}">
                            <a16:creationId xmlns:a16="http://schemas.microsoft.com/office/drawing/2014/main" id="{9D277DFC-F56A-58F7-FC21-3F26092ECB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72AD602-DDDC-D323-ECFD-BC540FC912CF}"/>
              </a:ext>
            </a:extLst>
          </p:cNvPr>
          <p:cNvSpPr>
            <a:spLocks noGrp="1"/>
          </p:cNvSpPr>
          <p:nvPr>
            <p:ph type="title"/>
          </p:nvPr>
        </p:nvSpPr>
        <p:spPr/>
        <p:txBody>
          <a:bodyPr vert="horz"/>
          <a:lstStyle/>
          <a:p>
            <a:r>
              <a:rPr lang="en-US" dirty="0"/>
              <a:t>To arrive at answers to these three questions, click through to the </a:t>
            </a:r>
            <a:r>
              <a:rPr lang="en-US" dirty="0">
                <a:solidFill>
                  <a:schemeClr val="accent1"/>
                </a:solidFill>
              </a:rPr>
              <a:t>Forecast Vacancies </a:t>
            </a:r>
            <a:r>
              <a:rPr lang="en-US" dirty="0"/>
              <a:t>page of the Leadership Portal</a:t>
            </a:r>
          </a:p>
        </p:txBody>
      </p:sp>
      <p:pic>
        <p:nvPicPr>
          <p:cNvPr id="30" name="Picture 29" descr="A screenshot of a computer&#10;&#10;Description automatically generated">
            <a:extLst>
              <a:ext uri="{FF2B5EF4-FFF2-40B4-BE49-F238E27FC236}">
                <a16:creationId xmlns:a16="http://schemas.microsoft.com/office/drawing/2014/main" id="{5117EC8F-7666-61C4-C8AA-DAF04122E0E8}"/>
              </a:ext>
            </a:extLst>
          </p:cNvPr>
          <p:cNvPicPr>
            <a:picLocks noChangeAspect="1"/>
          </p:cNvPicPr>
          <p:nvPr/>
        </p:nvPicPr>
        <p:blipFill rotWithShape="1">
          <a:blip r:embed="rId5"/>
          <a:srcRect l="10053" t="18610" r="15406" b="15973"/>
          <a:stretch/>
        </p:blipFill>
        <p:spPr>
          <a:xfrm>
            <a:off x="1676399" y="1485900"/>
            <a:ext cx="8620125" cy="4486275"/>
          </a:xfrm>
          <a:prstGeom prst="rect">
            <a:avLst/>
          </a:prstGeom>
        </p:spPr>
      </p:pic>
      <p:sp>
        <p:nvSpPr>
          <p:cNvPr id="31" name="Rectangle: Rounded Corners 30">
            <a:extLst>
              <a:ext uri="{FF2B5EF4-FFF2-40B4-BE49-F238E27FC236}">
                <a16:creationId xmlns:a16="http://schemas.microsoft.com/office/drawing/2014/main" id="{C898FBE6-9CC1-0868-5D50-259800B3D83C}"/>
              </a:ext>
            </a:extLst>
          </p:cNvPr>
          <p:cNvSpPr/>
          <p:nvPr/>
        </p:nvSpPr>
        <p:spPr>
          <a:xfrm>
            <a:off x="2285999" y="2124075"/>
            <a:ext cx="2105025" cy="3619500"/>
          </a:xfrm>
          <a:prstGeom prst="roundRect">
            <a:avLst/>
          </a:prstGeom>
          <a:no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70341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442F64F-3723-5996-8107-A2A178DD54D8}"/>
              </a:ext>
            </a:extLst>
          </p:cNvPr>
          <p:cNvGraphicFramePr>
            <a:graphicFrameLocks noChangeAspect="1"/>
          </p:cNvGraphicFramePr>
          <p:nvPr>
            <p:custDataLst>
              <p:tags r:id="rId1"/>
            </p:custDataLst>
            <p:extLst>
              <p:ext uri="{D42A27DB-BD31-4B8C-83A1-F6EECF244321}">
                <p14:modId xmlns:p14="http://schemas.microsoft.com/office/powerpoint/2010/main" val="1637119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3" name="think-cell data - do not delete" hidden="1">
                        <a:extLst>
                          <a:ext uri="{FF2B5EF4-FFF2-40B4-BE49-F238E27FC236}">
                            <a16:creationId xmlns:a16="http://schemas.microsoft.com/office/drawing/2014/main" id="{1442F64F-3723-5996-8107-A2A178DD54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61939E8-3488-6EF7-3371-5298B8456927}"/>
              </a:ext>
            </a:extLst>
          </p:cNvPr>
          <p:cNvSpPr>
            <a:spLocks noGrp="1"/>
          </p:cNvSpPr>
          <p:nvPr>
            <p:ph type="title"/>
          </p:nvPr>
        </p:nvSpPr>
        <p:spPr/>
        <p:txBody>
          <a:bodyPr vert="horz"/>
          <a:lstStyle/>
          <a:p>
            <a:r>
              <a:rPr lang="en-US" dirty="0"/>
              <a:t>Each section of the Forecast page will help to answer one of these questions</a:t>
            </a:r>
          </a:p>
        </p:txBody>
      </p:sp>
      <p:grpSp>
        <p:nvGrpSpPr>
          <p:cNvPr id="14" name="Group 13">
            <a:extLst>
              <a:ext uri="{FF2B5EF4-FFF2-40B4-BE49-F238E27FC236}">
                <a16:creationId xmlns:a16="http://schemas.microsoft.com/office/drawing/2014/main" id="{62A2146E-CCE2-AFC3-018C-7A418FC593E9}"/>
              </a:ext>
            </a:extLst>
          </p:cNvPr>
          <p:cNvGrpSpPr/>
          <p:nvPr/>
        </p:nvGrpSpPr>
        <p:grpSpPr>
          <a:xfrm>
            <a:off x="4190021" y="1234926"/>
            <a:ext cx="4086226" cy="5240485"/>
            <a:chOff x="6972300" y="857250"/>
            <a:chExt cx="4086226" cy="5240485"/>
          </a:xfrm>
        </p:grpSpPr>
        <p:sp>
          <p:nvSpPr>
            <p:cNvPr id="12" name="Rectangle 11">
              <a:extLst>
                <a:ext uri="{FF2B5EF4-FFF2-40B4-BE49-F238E27FC236}">
                  <a16:creationId xmlns:a16="http://schemas.microsoft.com/office/drawing/2014/main" id="{61EE63C0-5465-4C31-E5E9-6E8F39AE64E3}"/>
                </a:ext>
              </a:extLst>
            </p:cNvPr>
            <p:cNvSpPr/>
            <p:nvPr/>
          </p:nvSpPr>
          <p:spPr>
            <a:xfrm>
              <a:off x="6972300" y="857250"/>
              <a:ext cx="4086226" cy="524048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BD3A3D98-084F-9366-6706-AE6C948AB3A2}"/>
                </a:ext>
              </a:extLst>
            </p:cNvPr>
            <p:cNvGrpSpPr/>
            <p:nvPr/>
          </p:nvGrpSpPr>
          <p:grpSpPr>
            <a:xfrm>
              <a:off x="7134225" y="1014412"/>
              <a:ext cx="3924301" cy="4829176"/>
              <a:chOff x="752475" y="1495424"/>
              <a:chExt cx="3924301" cy="4829176"/>
            </a:xfrm>
          </p:grpSpPr>
          <p:pic>
            <p:nvPicPr>
              <p:cNvPr id="6" name="Picture 5" descr="A screenshot of a computer&#10;&#10;Description automatically generated">
                <a:extLst>
                  <a:ext uri="{FF2B5EF4-FFF2-40B4-BE49-F238E27FC236}">
                    <a16:creationId xmlns:a16="http://schemas.microsoft.com/office/drawing/2014/main" id="{3CD0ED83-446B-5D54-4A78-51F1CD19858E}"/>
                  </a:ext>
                </a:extLst>
              </p:cNvPr>
              <p:cNvPicPr>
                <a:picLocks noChangeAspect="1"/>
              </p:cNvPicPr>
              <p:nvPr/>
            </p:nvPicPr>
            <p:blipFill rotWithShape="1">
              <a:blip r:embed="rId5"/>
              <a:srcRect l="4718" t="19478" r="5167" b="3780"/>
              <a:stretch/>
            </p:blipFill>
            <p:spPr>
              <a:xfrm>
                <a:off x="752475" y="1495424"/>
                <a:ext cx="3828605" cy="1933576"/>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E0341229-500E-03A8-A0EE-201758D5B051}"/>
                  </a:ext>
                </a:extLst>
              </p:cNvPr>
              <p:cNvPicPr>
                <a:picLocks noChangeAspect="1"/>
              </p:cNvPicPr>
              <p:nvPr/>
            </p:nvPicPr>
            <p:blipFill rotWithShape="1">
              <a:blip r:embed="rId6"/>
              <a:srcRect l="4355" t="18343" r="3726" b="14366"/>
              <a:stretch/>
            </p:blipFill>
            <p:spPr>
              <a:xfrm>
                <a:off x="752475" y="3429000"/>
                <a:ext cx="3905250" cy="1695450"/>
              </a:xfrm>
              <a:prstGeom prst="rect">
                <a:avLst/>
              </a:prstGeom>
            </p:spPr>
          </p:pic>
          <p:pic>
            <p:nvPicPr>
              <p:cNvPr id="10" name="Picture 9" descr="A screenshot of a computer&#10;&#10;Description automatically generated">
                <a:extLst>
                  <a:ext uri="{FF2B5EF4-FFF2-40B4-BE49-F238E27FC236}">
                    <a16:creationId xmlns:a16="http://schemas.microsoft.com/office/drawing/2014/main" id="{84455524-686B-173E-D0B2-4A376752A3F0}"/>
                  </a:ext>
                </a:extLst>
              </p:cNvPr>
              <p:cNvPicPr>
                <a:picLocks noChangeAspect="1"/>
              </p:cNvPicPr>
              <p:nvPr/>
            </p:nvPicPr>
            <p:blipFill rotWithShape="1">
              <a:blip r:embed="rId7"/>
              <a:srcRect l="4056" t="47221" r="4025" b="5146"/>
              <a:stretch/>
            </p:blipFill>
            <p:spPr>
              <a:xfrm>
                <a:off x="771525" y="5124450"/>
                <a:ext cx="3905251" cy="1200150"/>
              </a:xfrm>
              <a:prstGeom prst="rect">
                <a:avLst/>
              </a:prstGeom>
            </p:spPr>
          </p:pic>
        </p:grpSp>
      </p:grpSp>
      <p:sp>
        <p:nvSpPr>
          <p:cNvPr id="34" name="Rectangle: Rounded Corners 33">
            <a:extLst>
              <a:ext uri="{FF2B5EF4-FFF2-40B4-BE49-F238E27FC236}">
                <a16:creationId xmlns:a16="http://schemas.microsoft.com/office/drawing/2014/main" id="{2374FD6B-6BE8-536B-4628-0AB5A1DD5C92}"/>
              </a:ext>
            </a:extLst>
          </p:cNvPr>
          <p:cNvSpPr/>
          <p:nvPr/>
        </p:nvSpPr>
        <p:spPr>
          <a:xfrm>
            <a:off x="4275301" y="1871367"/>
            <a:ext cx="3905250" cy="1454297"/>
          </a:xfrm>
          <a:prstGeom prst="roundRect">
            <a:avLst/>
          </a:prstGeom>
          <a:no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Rounded Corners 35">
            <a:extLst>
              <a:ext uri="{FF2B5EF4-FFF2-40B4-BE49-F238E27FC236}">
                <a16:creationId xmlns:a16="http://schemas.microsoft.com/office/drawing/2014/main" id="{60C954CB-B75C-A7DE-267B-794961DA23EB}"/>
              </a:ext>
            </a:extLst>
          </p:cNvPr>
          <p:cNvSpPr/>
          <p:nvPr/>
        </p:nvSpPr>
        <p:spPr>
          <a:xfrm>
            <a:off x="4284827" y="3325664"/>
            <a:ext cx="3905250" cy="1454297"/>
          </a:xfrm>
          <a:prstGeom prst="roundRect">
            <a:avLst/>
          </a:prstGeom>
          <a:no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Rounded Corners 36">
            <a:extLst>
              <a:ext uri="{FF2B5EF4-FFF2-40B4-BE49-F238E27FC236}">
                <a16:creationId xmlns:a16="http://schemas.microsoft.com/office/drawing/2014/main" id="{46155D12-1970-6C5A-EDFF-38CD0B8A992F}"/>
              </a:ext>
            </a:extLst>
          </p:cNvPr>
          <p:cNvSpPr/>
          <p:nvPr/>
        </p:nvSpPr>
        <p:spPr>
          <a:xfrm>
            <a:off x="4275301" y="4779961"/>
            <a:ext cx="3905250" cy="1454297"/>
          </a:xfrm>
          <a:prstGeom prst="roundRect">
            <a:avLst/>
          </a:prstGeom>
          <a:no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Rounded Corners 37">
            <a:extLst>
              <a:ext uri="{FF2B5EF4-FFF2-40B4-BE49-F238E27FC236}">
                <a16:creationId xmlns:a16="http://schemas.microsoft.com/office/drawing/2014/main" id="{07666813-3C48-8BF9-B446-21F488D03536}"/>
              </a:ext>
            </a:extLst>
          </p:cNvPr>
          <p:cNvSpPr/>
          <p:nvPr/>
        </p:nvSpPr>
        <p:spPr>
          <a:xfrm>
            <a:off x="911833" y="1197299"/>
            <a:ext cx="2625726" cy="1488749"/>
          </a:xfrm>
          <a:prstGeom prst="roundRect">
            <a:avLst/>
          </a:prstGeom>
          <a:solidFill>
            <a:schemeClr val="accent1">
              <a:lumMod val="40000"/>
              <a:lumOff val="60000"/>
            </a:schemeClr>
          </a:solid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chemeClr val="accent1"/>
              </a:buClr>
              <a:buSzPct val="100000"/>
            </a:pPr>
            <a:r>
              <a:rPr lang="en-US" b="1" dirty="0">
                <a:solidFill>
                  <a:schemeClr val="tx2"/>
                </a:solidFill>
              </a:rPr>
              <a:t>How many principal vacancies can we expect to have in the coming year?</a:t>
            </a:r>
          </a:p>
        </p:txBody>
      </p:sp>
      <p:cxnSp>
        <p:nvCxnSpPr>
          <p:cNvPr id="41" name="Straight Connector 40">
            <a:extLst>
              <a:ext uri="{FF2B5EF4-FFF2-40B4-BE49-F238E27FC236}">
                <a16:creationId xmlns:a16="http://schemas.microsoft.com/office/drawing/2014/main" id="{237E70DC-FF24-A0BB-6DDD-B56FE65EF940}"/>
              </a:ext>
            </a:extLst>
          </p:cNvPr>
          <p:cNvCxnSpPr>
            <a:cxnSpLocks/>
            <a:endCxn id="38" idx="2"/>
          </p:cNvCxnSpPr>
          <p:nvPr/>
        </p:nvCxnSpPr>
        <p:spPr>
          <a:xfrm flipH="1">
            <a:off x="2224696" y="2686048"/>
            <a:ext cx="2050605" cy="0"/>
          </a:xfrm>
          <a:prstGeom prst="line">
            <a:avLst/>
          </a:prstGeom>
          <a:ln w="57150">
            <a:tailEnd type="oval" w="med" len="med"/>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9B95AD63-BBD5-E72F-D2D0-72EE1C0D98E1}"/>
              </a:ext>
            </a:extLst>
          </p:cNvPr>
          <p:cNvSpPr/>
          <p:nvPr/>
        </p:nvSpPr>
        <p:spPr>
          <a:xfrm>
            <a:off x="9053969" y="2564063"/>
            <a:ext cx="2625726" cy="1488749"/>
          </a:xfrm>
          <a:prstGeom prst="roundRect">
            <a:avLst/>
          </a:prstGeom>
          <a:solidFill>
            <a:schemeClr val="accent1">
              <a:lumMod val="40000"/>
              <a:lumOff val="60000"/>
            </a:schemeClr>
          </a:solid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chemeClr val="accent1"/>
              </a:buClr>
              <a:buSzPct val="100000"/>
            </a:pPr>
            <a:r>
              <a:rPr lang="en-US" b="1" dirty="0">
                <a:solidFill>
                  <a:schemeClr val="tx2"/>
                </a:solidFill>
              </a:rPr>
              <a:t>Where are these vacancies most likely to occur?</a:t>
            </a:r>
          </a:p>
        </p:txBody>
      </p:sp>
      <p:cxnSp>
        <p:nvCxnSpPr>
          <p:cNvPr id="46" name="Straight Connector 45">
            <a:extLst>
              <a:ext uri="{FF2B5EF4-FFF2-40B4-BE49-F238E27FC236}">
                <a16:creationId xmlns:a16="http://schemas.microsoft.com/office/drawing/2014/main" id="{7CFCF05E-D8B1-2E80-944F-3B2842E9E6DC}"/>
              </a:ext>
            </a:extLst>
          </p:cNvPr>
          <p:cNvCxnSpPr>
            <a:cxnSpLocks/>
            <a:stCxn id="36" idx="3"/>
            <a:endCxn id="45" idx="2"/>
          </p:cNvCxnSpPr>
          <p:nvPr/>
        </p:nvCxnSpPr>
        <p:spPr>
          <a:xfrm flipV="1">
            <a:off x="8190077" y="4052812"/>
            <a:ext cx="2176755" cy="1"/>
          </a:xfrm>
          <a:prstGeom prst="line">
            <a:avLst/>
          </a:prstGeom>
          <a:ln w="57150">
            <a:tailEnd type="oval" w="med" len="med"/>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EC4DA5ED-B945-48FF-92BD-1BA7410B5974}"/>
              </a:ext>
            </a:extLst>
          </p:cNvPr>
          <p:cNvSpPr/>
          <p:nvPr/>
        </p:nvSpPr>
        <p:spPr>
          <a:xfrm>
            <a:off x="911833" y="4040286"/>
            <a:ext cx="2625726" cy="1488749"/>
          </a:xfrm>
          <a:prstGeom prst="roundRect">
            <a:avLst/>
          </a:prstGeom>
          <a:solidFill>
            <a:schemeClr val="accent1">
              <a:lumMod val="40000"/>
              <a:lumOff val="60000"/>
            </a:schemeClr>
          </a:solidFill>
          <a:ln w="571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chemeClr val="accent1"/>
              </a:buClr>
              <a:buSzPct val="100000"/>
            </a:pPr>
            <a:r>
              <a:rPr lang="en-US" b="1" dirty="0">
                <a:solidFill>
                  <a:schemeClr val="tx2"/>
                </a:solidFill>
              </a:rPr>
              <a:t>What are the major drivers of principal vacancies in our district?</a:t>
            </a:r>
          </a:p>
        </p:txBody>
      </p:sp>
      <p:cxnSp>
        <p:nvCxnSpPr>
          <p:cNvPr id="50" name="Straight Connector 49">
            <a:extLst>
              <a:ext uri="{FF2B5EF4-FFF2-40B4-BE49-F238E27FC236}">
                <a16:creationId xmlns:a16="http://schemas.microsoft.com/office/drawing/2014/main" id="{E06925B0-C30F-FBA6-0C07-22ABBA63EE28}"/>
              </a:ext>
            </a:extLst>
          </p:cNvPr>
          <p:cNvCxnSpPr>
            <a:cxnSpLocks/>
            <a:stCxn id="37" idx="1"/>
            <a:endCxn id="49" idx="2"/>
          </p:cNvCxnSpPr>
          <p:nvPr/>
        </p:nvCxnSpPr>
        <p:spPr>
          <a:xfrm flipH="1">
            <a:off x="2224696" y="5507110"/>
            <a:ext cx="2050605" cy="21925"/>
          </a:xfrm>
          <a:prstGeom prst="line">
            <a:avLst/>
          </a:prstGeom>
          <a:ln w="57150">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3194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632AE1F-0065-6BB7-3BB8-4BE4B2523D47}"/>
              </a:ext>
            </a:extLst>
          </p:cNvPr>
          <p:cNvGraphicFramePr>
            <a:graphicFrameLocks noChangeAspect="1"/>
          </p:cNvGraphicFramePr>
          <p:nvPr>
            <p:custDataLst>
              <p:tags r:id="rId1"/>
            </p:custDataLst>
            <p:extLst>
              <p:ext uri="{D42A27DB-BD31-4B8C-83A1-F6EECF244321}">
                <p14:modId xmlns:p14="http://schemas.microsoft.com/office/powerpoint/2010/main" val="23673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632AE1F-0065-6BB7-3BB8-4BE4B2523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21274D9-F72A-B9BA-7B37-4AB6B0CE7AC9}"/>
              </a:ext>
            </a:extLst>
          </p:cNvPr>
          <p:cNvSpPr>
            <a:spLocks noGrp="1"/>
          </p:cNvSpPr>
          <p:nvPr>
            <p:ph type="title"/>
          </p:nvPr>
        </p:nvSpPr>
        <p:spPr/>
        <p:txBody>
          <a:bodyPr vert="horz"/>
          <a:lstStyle/>
          <a:p>
            <a:r>
              <a:rPr lang="en-US" dirty="0">
                <a:solidFill>
                  <a:schemeClr val="accent1"/>
                </a:solidFill>
              </a:rPr>
              <a:t>Forecast Vacancies Question 1 | </a:t>
            </a:r>
            <a:r>
              <a:rPr lang="en-US" sz="2800" b="1" dirty="0"/>
              <a:t>How many principal vacancies can we expect to have in the coming year?</a:t>
            </a:r>
            <a:endParaRPr lang="en-US" dirty="0"/>
          </a:p>
        </p:txBody>
      </p:sp>
      <p:graphicFrame>
        <p:nvGraphicFramePr>
          <p:cNvPr id="13" name="Table 2">
            <a:extLst>
              <a:ext uri="{FF2B5EF4-FFF2-40B4-BE49-F238E27FC236}">
                <a16:creationId xmlns:a16="http://schemas.microsoft.com/office/drawing/2014/main" id="{DBFFC6E8-8F1B-531B-F80E-0815BBC40E31}"/>
              </a:ext>
            </a:extLst>
          </p:cNvPr>
          <p:cNvGraphicFramePr>
            <a:graphicFrameLocks noGrp="1"/>
          </p:cNvGraphicFramePr>
          <p:nvPr/>
        </p:nvGraphicFramePr>
        <p:xfrm>
          <a:off x="355603" y="2044896"/>
          <a:ext cx="6337380" cy="782372"/>
        </p:xfrm>
        <a:graphic>
          <a:graphicData uri="http://schemas.openxmlformats.org/drawingml/2006/table">
            <a:tbl>
              <a:tblPr firstRow="1" bandRow="1">
                <a:tableStyleId>{5940675A-B579-460E-94D1-54222C63F5DA}</a:tableStyleId>
              </a:tblPr>
              <a:tblGrid>
                <a:gridCol w="1584345">
                  <a:extLst>
                    <a:ext uri="{9D8B030D-6E8A-4147-A177-3AD203B41FA5}">
                      <a16:colId xmlns:a16="http://schemas.microsoft.com/office/drawing/2014/main" val="1312138482"/>
                    </a:ext>
                  </a:extLst>
                </a:gridCol>
                <a:gridCol w="1584345">
                  <a:extLst>
                    <a:ext uri="{9D8B030D-6E8A-4147-A177-3AD203B41FA5}">
                      <a16:colId xmlns:a16="http://schemas.microsoft.com/office/drawing/2014/main" val="1896492948"/>
                    </a:ext>
                  </a:extLst>
                </a:gridCol>
                <a:gridCol w="1584345">
                  <a:extLst>
                    <a:ext uri="{9D8B030D-6E8A-4147-A177-3AD203B41FA5}">
                      <a16:colId xmlns:a16="http://schemas.microsoft.com/office/drawing/2014/main" val="2089301386"/>
                    </a:ext>
                  </a:extLst>
                </a:gridCol>
                <a:gridCol w="1584345">
                  <a:extLst>
                    <a:ext uri="{9D8B030D-6E8A-4147-A177-3AD203B41FA5}">
                      <a16:colId xmlns:a16="http://schemas.microsoft.com/office/drawing/2014/main" val="3654404324"/>
                    </a:ext>
                  </a:extLst>
                </a:gridCol>
              </a:tblGrid>
              <a:tr h="172672">
                <a:tc>
                  <a:txBody>
                    <a:bodyPr/>
                    <a:lstStyle/>
                    <a:p>
                      <a:pPr algn="ctr"/>
                      <a:r>
                        <a:rPr lang="en-US" sz="1200" b="1" dirty="0"/>
                        <a:t>TOTAL </a:t>
                      </a:r>
                    </a:p>
                  </a:txBody>
                  <a:tcPr>
                    <a:solidFill>
                      <a:schemeClr val="bg1">
                        <a:lumMod val="85000"/>
                      </a:schemeClr>
                    </a:solidFill>
                  </a:tcPr>
                </a:tc>
                <a:tc>
                  <a:txBody>
                    <a:bodyPr/>
                    <a:lstStyle/>
                    <a:p>
                      <a:pPr algn="ctr"/>
                      <a:r>
                        <a:rPr lang="en-US" sz="1200" b="1" dirty="0"/>
                        <a:t>High (Secondary)</a:t>
                      </a:r>
                    </a:p>
                  </a:txBody>
                  <a:tcPr>
                    <a:solidFill>
                      <a:schemeClr val="bg1">
                        <a:lumMod val="85000"/>
                      </a:schemeClr>
                    </a:solidFill>
                  </a:tcPr>
                </a:tc>
                <a:tc>
                  <a:txBody>
                    <a:bodyPr/>
                    <a:lstStyle/>
                    <a:p>
                      <a:pPr algn="ctr"/>
                      <a:r>
                        <a:rPr lang="en-US" sz="1200" b="1" dirty="0"/>
                        <a:t>Middle</a:t>
                      </a:r>
                    </a:p>
                  </a:txBody>
                  <a:tcPr>
                    <a:solidFill>
                      <a:schemeClr val="bg1">
                        <a:lumMod val="85000"/>
                      </a:schemeClr>
                    </a:solidFill>
                  </a:tcPr>
                </a:tc>
                <a:tc>
                  <a:txBody>
                    <a:bodyPr/>
                    <a:lstStyle/>
                    <a:p>
                      <a:pPr algn="ctr"/>
                      <a:r>
                        <a:rPr lang="en-US" sz="1200" b="1" dirty="0"/>
                        <a:t>Elementary</a:t>
                      </a:r>
                    </a:p>
                  </a:txBody>
                  <a:tcPr>
                    <a:solidFill>
                      <a:schemeClr val="bg1">
                        <a:lumMod val="85000"/>
                      </a:schemeClr>
                    </a:solidFill>
                  </a:tcPr>
                </a:tc>
                <a:extLst>
                  <a:ext uri="{0D108BD9-81ED-4DB2-BD59-A6C34878D82A}">
                    <a16:rowId xmlns:a16="http://schemas.microsoft.com/office/drawing/2014/main" val="4056285750"/>
                  </a:ext>
                </a:extLst>
              </a:tr>
              <a:tr h="508052">
                <a:tc>
                  <a:txBody>
                    <a:bodyPr/>
                    <a:lstStyle/>
                    <a:p>
                      <a:pPr algn="ctr"/>
                      <a:r>
                        <a:rPr lang="en-US" sz="1800" b="1" dirty="0"/>
                        <a:t>3</a:t>
                      </a:r>
                    </a:p>
                  </a:txBody>
                  <a:tcPr anchor="ctr"/>
                </a:tc>
                <a:tc>
                  <a:txBody>
                    <a:bodyPr/>
                    <a:lstStyle/>
                    <a:p>
                      <a:pPr algn="ctr"/>
                      <a:r>
                        <a:rPr lang="en-US" sz="1800" b="1" dirty="0"/>
                        <a:t>1</a:t>
                      </a:r>
                    </a:p>
                  </a:txBody>
                  <a:tcPr anchor="ctr"/>
                </a:tc>
                <a:tc>
                  <a:txBody>
                    <a:bodyPr/>
                    <a:lstStyle/>
                    <a:p>
                      <a:pPr algn="ctr"/>
                      <a:r>
                        <a:rPr lang="en-US" sz="1800" b="1" dirty="0"/>
                        <a:t>1</a:t>
                      </a:r>
                    </a:p>
                  </a:txBody>
                  <a:tcPr anchor="ctr"/>
                </a:tc>
                <a:tc>
                  <a:txBody>
                    <a:bodyPr/>
                    <a:lstStyle/>
                    <a:p>
                      <a:pPr algn="ctr"/>
                      <a:r>
                        <a:rPr lang="en-US" sz="1800" b="1" dirty="0"/>
                        <a:t>1</a:t>
                      </a:r>
                    </a:p>
                  </a:txBody>
                  <a:tcPr anchor="ctr"/>
                </a:tc>
                <a:extLst>
                  <a:ext uri="{0D108BD9-81ED-4DB2-BD59-A6C34878D82A}">
                    <a16:rowId xmlns:a16="http://schemas.microsoft.com/office/drawing/2014/main" val="3957164098"/>
                  </a:ext>
                </a:extLst>
              </a:tr>
            </a:tbl>
          </a:graphicData>
        </a:graphic>
      </p:graphicFrame>
      <p:sp>
        <p:nvSpPr>
          <p:cNvPr id="14" name="Rectangle 13">
            <a:extLst>
              <a:ext uri="{FF2B5EF4-FFF2-40B4-BE49-F238E27FC236}">
                <a16:creationId xmlns:a16="http://schemas.microsoft.com/office/drawing/2014/main" id="{06AD4ADE-FF88-B428-E53E-1434289D925A}"/>
              </a:ext>
            </a:extLst>
          </p:cNvPr>
          <p:cNvSpPr/>
          <p:nvPr/>
        </p:nvSpPr>
        <p:spPr>
          <a:xfrm>
            <a:off x="355600" y="1323022"/>
            <a:ext cx="9647382" cy="2546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l" fontAlgn="b"/>
            <a:r>
              <a:rPr lang="en-US" b="1" i="0" u="none" strike="noStrike" dirty="0">
                <a:solidFill>
                  <a:srgbClr val="002F6E"/>
                </a:solidFill>
                <a:effectLst/>
                <a:latin typeface="+mj-lt"/>
              </a:rPr>
              <a:t>Step 1: Get in the ballpark of projected principal vacancies using historical trends</a:t>
            </a:r>
          </a:p>
        </p:txBody>
      </p:sp>
      <p:sp>
        <p:nvSpPr>
          <p:cNvPr id="15" name="Rectangle 14">
            <a:extLst>
              <a:ext uri="{FF2B5EF4-FFF2-40B4-BE49-F238E27FC236}">
                <a16:creationId xmlns:a16="http://schemas.microsoft.com/office/drawing/2014/main" id="{268FB826-F0DC-84EC-422D-836D45329610}"/>
              </a:ext>
            </a:extLst>
          </p:cNvPr>
          <p:cNvSpPr/>
          <p:nvPr/>
        </p:nvSpPr>
        <p:spPr>
          <a:xfrm>
            <a:off x="355600" y="1716163"/>
            <a:ext cx="10977418" cy="2546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b="1" u="none" strike="noStrike" dirty="0">
                <a:solidFill>
                  <a:srgbClr val="000000"/>
                </a:solidFill>
                <a:effectLst/>
                <a:latin typeface="+mj-lt"/>
              </a:rPr>
              <a:t>Directions: </a:t>
            </a:r>
            <a:r>
              <a:rPr lang="en-US" b="0" u="none" strike="noStrike" dirty="0">
                <a:solidFill>
                  <a:srgbClr val="000000"/>
                </a:solidFill>
                <a:effectLst/>
                <a:latin typeface="+mj-lt"/>
              </a:rPr>
              <a:t>Find and note the projected principal vacancies from the corresponding dashboard. See example below:</a:t>
            </a:r>
            <a:endParaRPr lang="en-US" dirty="0">
              <a:latin typeface="+mj-lt"/>
            </a:endParaRPr>
          </a:p>
        </p:txBody>
      </p:sp>
      <p:pic>
        <p:nvPicPr>
          <p:cNvPr id="20" name="Picture 19">
            <a:extLst>
              <a:ext uri="{FF2B5EF4-FFF2-40B4-BE49-F238E27FC236}">
                <a16:creationId xmlns:a16="http://schemas.microsoft.com/office/drawing/2014/main" id="{F7068201-AA84-33D2-0F3F-D2DC1A36AF32}"/>
              </a:ext>
            </a:extLst>
          </p:cNvPr>
          <p:cNvPicPr>
            <a:picLocks noChangeAspect="1"/>
          </p:cNvPicPr>
          <p:nvPr/>
        </p:nvPicPr>
        <p:blipFill>
          <a:blip r:embed="rId5"/>
          <a:stretch>
            <a:fillRect/>
          </a:stretch>
        </p:blipFill>
        <p:spPr>
          <a:xfrm>
            <a:off x="355603" y="2990697"/>
            <a:ext cx="8141855" cy="2852974"/>
          </a:xfrm>
          <a:prstGeom prst="rect">
            <a:avLst/>
          </a:prstGeom>
          <a:ln>
            <a:noFill/>
          </a:ln>
          <a:effectLst>
            <a:outerShdw blurRad="292100" dist="139700" dir="2700000" algn="tl" rotWithShape="0">
              <a:srgbClr val="333333">
                <a:alpha val="65000"/>
              </a:srgbClr>
            </a:outerShdw>
          </a:effectLst>
        </p:spPr>
      </p:pic>
      <p:cxnSp>
        <p:nvCxnSpPr>
          <p:cNvPr id="3" name="Straight Arrow Connector 2">
            <a:extLst>
              <a:ext uri="{FF2B5EF4-FFF2-40B4-BE49-F238E27FC236}">
                <a16:creationId xmlns:a16="http://schemas.microsoft.com/office/drawing/2014/main" id="{CC2A2F30-4FF7-A642-43B2-6461073622A8}"/>
              </a:ext>
            </a:extLst>
          </p:cNvPr>
          <p:cNvCxnSpPr>
            <a:cxnSpLocks/>
          </p:cNvCxnSpPr>
          <p:nvPr/>
        </p:nvCxnSpPr>
        <p:spPr>
          <a:xfrm>
            <a:off x="1237673" y="2743200"/>
            <a:ext cx="461818" cy="10898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6D16EB3C-860D-E6EB-D31A-2C17DC8525F7}"/>
              </a:ext>
            </a:extLst>
          </p:cNvPr>
          <p:cNvSpPr/>
          <p:nvPr/>
        </p:nvSpPr>
        <p:spPr>
          <a:xfrm>
            <a:off x="8821294" y="2232882"/>
            <a:ext cx="2874027" cy="3752282"/>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i="1" dirty="0">
                <a:solidFill>
                  <a:schemeClr val="tx1"/>
                </a:solidFill>
              </a:rPr>
              <a:t>You should plan to adjust this number slightly as you review additional data. At the same time, be cautious not to reduce the number too much or count only those vacancies you currently know about or suspect. We have found a straight average of the past five years as depicted in this graph to be a great starting place and often very accurate. To cement this idea, it may help to walk back through last year’s vacancies and assess when in the year those campuses showed up on your radar as potential vacancies. (Be sure to include the cascade effects of transferring leaders as well—these are vacancies you have to consider)</a:t>
            </a:r>
          </a:p>
        </p:txBody>
      </p:sp>
    </p:spTree>
    <p:extLst>
      <p:ext uri="{BB962C8B-B14F-4D97-AF65-F5344CB8AC3E}">
        <p14:creationId xmlns:p14="http://schemas.microsoft.com/office/powerpoint/2010/main" val="24903784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632AE1F-0065-6BB7-3BB8-4BE4B2523D47}"/>
              </a:ext>
            </a:extLst>
          </p:cNvPr>
          <p:cNvGraphicFramePr>
            <a:graphicFrameLocks noChangeAspect="1"/>
          </p:cNvGraphicFramePr>
          <p:nvPr>
            <p:custDataLst>
              <p:tags r:id="rId1"/>
            </p:custDataLst>
            <p:extLst>
              <p:ext uri="{D42A27DB-BD31-4B8C-83A1-F6EECF244321}">
                <p14:modId xmlns:p14="http://schemas.microsoft.com/office/powerpoint/2010/main" val="1090835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632AE1F-0065-6BB7-3BB8-4BE4B2523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21274D9-F72A-B9BA-7B37-4AB6B0CE7AC9}"/>
              </a:ext>
            </a:extLst>
          </p:cNvPr>
          <p:cNvSpPr>
            <a:spLocks noGrp="1"/>
          </p:cNvSpPr>
          <p:nvPr>
            <p:ph type="title"/>
          </p:nvPr>
        </p:nvSpPr>
        <p:spPr/>
        <p:txBody>
          <a:bodyPr vert="horz"/>
          <a:lstStyle/>
          <a:p>
            <a:r>
              <a:rPr lang="en-US" dirty="0">
                <a:solidFill>
                  <a:schemeClr val="accent1"/>
                </a:solidFill>
              </a:rPr>
              <a:t>Forecast Vacancies Question 2 | </a:t>
            </a:r>
            <a:r>
              <a:rPr lang="en-US" sz="2800" b="1" dirty="0"/>
              <a:t>What are the major drivers of principal vacancies in our district?</a:t>
            </a:r>
            <a:endParaRPr lang="en-US" dirty="0"/>
          </a:p>
        </p:txBody>
      </p:sp>
      <p:sp>
        <p:nvSpPr>
          <p:cNvPr id="14" name="Rectangle 13">
            <a:extLst>
              <a:ext uri="{FF2B5EF4-FFF2-40B4-BE49-F238E27FC236}">
                <a16:creationId xmlns:a16="http://schemas.microsoft.com/office/drawing/2014/main" id="{06AD4ADE-FF88-B428-E53E-1434289D925A}"/>
              </a:ext>
            </a:extLst>
          </p:cNvPr>
          <p:cNvSpPr/>
          <p:nvPr/>
        </p:nvSpPr>
        <p:spPr>
          <a:xfrm>
            <a:off x="355600" y="1378438"/>
            <a:ext cx="9647382" cy="2546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l" fontAlgn="b"/>
            <a:r>
              <a:rPr lang="en-US" b="1" i="0" u="none" strike="noStrike" dirty="0">
                <a:solidFill>
                  <a:srgbClr val="002F6E"/>
                </a:solidFill>
                <a:effectLst/>
                <a:latin typeface="+mj-lt"/>
              </a:rPr>
              <a:t>Step 2: Look under the surface at common causes of vacancies in your district</a:t>
            </a:r>
          </a:p>
        </p:txBody>
      </p:sp>
      <p:sp>
        <p:nvSpPr>
          <p:cNvPr id="15" name="Rectangle 14">
            <a:extLst>
              <a:ext uri="{FF2B5EF4-FFF2-40B4-BE49-F238E27FC236}">
                <a16:creationId xmlns:a16="http://schemas.microsoft.com/office/drawing/2014/main" id="{268FB826-F0DC-84EC-422D-836D45329610}"/>
              </a:ext>
            </a:extLst>
          </p:cNvPr>
          <p:cNvSpPr/>
          <p:nvPr/>
        </p:nvSpPr>
        <p:spPr>
          <a:xfrm>
            <a:off x="355599" y="1716163"/>
            <a:ext cx="11480797" cy="5219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b="1" u="none" strike="noStrike" dirty="0">
                <a:solidFill>
                  <a:srgbClr val="000000"/>
                </a:solidFill>
                <a:effectLst/>
                <a:latin typeface="+mj-lt"/>
              </a:rPr>
              <a:t>Directions: </a:t>
            </a:r>
            <a:r>
              <a:rPr lang="en-US" u="none" strike="noStrike" dirty="0">
                <a:solidFill>
                  <a:srgbClr val="000000"/>
                </a:solidFill>
                <a:effectLst/>
                <a:latin typeface="+mj-lt"/>
              </a:rPr>
              <a:t>Note how prevalent the causes for vacancy are below. You could generalize (most to least common cause) or could do some simple math to find percentages for each cause. </a:t>
            </a:r>
            <a:endParaRPr lang="en-US" dirty="0">
              <a:latin typeface="+mj-lt"/>
            </a:endParaRPr>
          </a:p>
        </p:txBody>
      </p:sp>
      <p:pic>
        <p:nvPicPr>
          <p:cNvPr id="23" name="Picture 22">
            <a:extLst>
              <a:ext uri="{FF2B5EF4-FFF2-40B4-BE49-F238E27FC236}">
                <a16:creationId xmlns:a16="http://schemas.microsoft.com/office/drawing/2014/main" id="{928B371F-4536-0BBE-302E-B8ED478A5212}"/>
              </a:ext>
            </a:extLst>
          </p:cNvPr>
          <p:cNvPicPr>
            <a:picLocks noChangeAspect="1"/>
          </p:cNvPicPr>
          <p:nvPr/>
        </p:nvPicPr>
        <p:blipFill>
          <a:blip r:embed="rId5"/>
          <a:stretch>
            <a:fillRect/>
          </a:stretch>
        </p:blipFill>
        <p:spPr>
          <a:xfrm>
            <a:off x="355599" y="2505949"/>
            <a:ext cx="6039693" cy="3391373"/>
          </a:xfrm>
          <a:prstGeom prst="rect">
            <a:avLst/>
          </a:prstGeom>
          <a:ln>
            <a:noFill/>
          </a:ln>
          <a:effectLst>
            <a:outerShdw blurRad="292100" dist="139700" dir="2700000" algn="tl" rotWithShape="0">
              <a:srgbClr val="333333">
                <a:alpha val="65000"/>
              </a:srgbClr>
            </a:outerShdw>
          </a:effectLst>
        </p:spPr>
      </p:pic>
      <p:graphicFrame>
        <p:nvGraphicFramePr>
          <p:cNvPr id="26" name="Table 2">
            <a:extLst>
              <a:ext uri="{FF2B5EF4-FFF2-40B4-BE49-F238E27FC236}">
                <a16:creationId xmlns:a16="http://schemas.microsoft.com/office/drawing/2014/main" id="{0DB9D38B-5284-063E-4600-8AFC6C08416C}"/>
              </a:ext>
            </a:extLst>
          </p:cNvPr>
          <p:cNvGraphicFramePr>
            <a:graphicFrameLocks noGrp="1"/>
          </p:cNvGraphicFramePr>
          <p:nvPr>
            <p:extLst>
              <p:ext uri="{D42A27DB-BD31-4B8C-83A1-F6EECF244321}">
                <p14:modId xmlns:p14="http://schemas.microsoft.com/office/powerpoint/2010/main" val="2653623571"/>
              </p:ext>
            </p:extLst>
          </p:nvPr>
        </p:nvGraphicFramePr>
        <p:xfrm>
          <a:off x="6553196" y="2505949"/>
          <a:ext cx="5504872" cy="886500"/>
        </p:xfrm>
        <a:graphic>
          <a:graphicData uri="http://schemas.openxmlformats.org/drawingml/2006/table">
            <a:tbl>
              <a:tblPr firstRow="1" bandRow="1">
                <a:tableStyleId>{5940675A-B579-460E-94D1-54222C63F5DA}</a:tableStyleId>
              </a:tblPr>
              <a:tblGrid>
                <a:gridCol w="1376218">
                  <a:extLst>
                    <a:ext uri="{9D8B030D-6E8A-4147-A177-3AD203B41FA5}">
                      <a16:colId xmlns:a16="http://schemas.microsoft.com/office/drawing/2014/main" val="1312138482"/>
                    </a:ext>
                  </a:extLst>
                </a:gridCol>
                <a:gridCol w="1376218">
                  <a:extLst>
                    <a:ext uri="{9D8B030D-6E8A-4147-A177-3AD203B41FA5}">
                      <a16:colId xmlns:a16="http://schemas.microsoft.com/office/drawing/2014/main" val="1896492948"/>
                    </a:ext>
                  </a:extLst>
                </a:gridCol>
                <a:gridCol w="1376218">
                  <a:extLst>
                    <a:ext uri="{9D8B030D-6E8A-4147-A177-3AD203B41FA5}">
                      <a16:colId xmlns:a16="http://schemas.microsoft.com/office/drawing/2014/main" val="2089301386"/>
                    </a:ext>
                  </a:extLst>
                </a:gridCol>
                <a:gridCol w="1376218">
                  <a:extLst>
                    <a:ext uri="{9D8B030D-6E8A-4147-A177-3AD203B41FA5}">
                      <a16:colId xmlns:a16="http://schemas.microsoft.com/office/drawing/2014/main" val="3654404324"/>
                    </a:ext>
                  </a:extLst>
                </a:gridCol>
              </a:tblGrid>
              <a:tr h="397140">
                <a:tc>
                  <a:txBody>
                    <a:bodyPr/>
                    <a:lstStyle/>
                    <a:p>
                      <a:pPr algn="ctr"/>
                      <a:r>
                        <a:rPr lang="en-US" sz="1200" b="1" dirty="0"/>
                        <a:t>Quit (attrition) </a:t>
                      </a:r>
                    </a:p>
                  </a:txBody>
                  <a:tcPr marL="79428" marR="79428" marT="39714" marB="39714" anchor="ctr">
                    <a:solidFill>
                      <a:schemeClr val="bg1">
                        <a:lumMod val="85000"/>
                      </a:schemeClr>
                    </a:solidFill>
                  </a:tcPr>
                </a:tc>
                <a:tc>
                  <a:txBody>
                    <a:bodyPr/>
                    <a:lstStyle/>
                    <a:p>
                      <a:pPr algn="ctr"/>
                      <a:r>
                        <a:rPr lang="en-US" sz="1200" b="1" dirty="0"/>
                        <a:t>Retired</a:t>
                      </a:r>
                    </a:p>
                  </a:txBody>
                  <a:tcPr marL="79428" marR="79428" marT="39714" marB="39714" anchor="ctr">
                    <a:solidFill>
                      <a:schemeClr val="bg1">
                        <a:lumMod val="85000"/>
                      </a:schemeClr>
                    </a:solidFill>
                  </a:tcPr>
                </a:tc>
                <a:tc>
                  <a:txBody>
                    <a:bodyPr/>
                    <a:lstStyle/>
                    <a:p>
                      <a:pPr algn="ctr"/>
                      <a:r>
                        <a:rPr lang="en-US" sz="1200" b="1" dirty="0"/>
                        <a:t>Promoted (internal)</a:t>
                      </a:r>
                    </a:p>
                  </a:txBody>
                  <a:tcPr marL="79428" marR="79428" marT="39714" marB="39714" anchor="ctr">
                    <a:solidFill>
                      <a:schemeClr val="bg1">
                        <a:lumMod val="85000"/>
                      </a:schemeClr>
                    </a:solidFill>
                  </a:tcPr>
                </a:tc>
                <a:tc>
                  <a:txBody>
                    <a:bodyPr/>
                    <a:lstStyle/>
                    <a:p>
                      <a:pPr algn="ctr"/>
                      <a:r>
                        <a:rPr lang="en-US" sz="1200" b="1" dirty="0"/>
                        <a:t>Transferred (internal)</a:t>
                      </a:r>
                    </a:p>
                  </a:txBody>
                  <a:tcPr marL="79428" marR="79428" marT="39714" marB="39714" anchor="ctr">
                    <a:solidFill>
                      <a:schemeClr val="bg1">
                        <a:lumMod val="85000"/>
                      </a:schemeClr>
                    </a:solidFill>
                  </a:tcPr>
                </a:tc>
                <a:extLst>
                  <a:ext uri="{0D108BD9-81ED-4DB2-BD59-A6C34878D82A}">
                    <a16:rowId xmlns:a16="http://schemas.microsoft.com/office/drawing/2014/main" val="4056285750"/>
                  </a:ext>
                </a:extLst>
              </a:tr>
              <a:tr h="441312">
                <a:tc>
                  <a:txBody>
                    <a:bodyPr/>
                    <a:lstStyle/>
                    <a:p>
                      <a:pPr algn="ctr"/>
                      <a:r>
                        <a:rPr lang="en-US" sz="1800" b="1" dirty="0"/>
                        <a:t>2</a:t>
                      </a:r>
                    </a:p>
                  </a:txBody>
                  <a:tcPr marL="79428" marR="79428" marT="39714" marB="39714" anchor="ctr"/>
                </a:tc>
                <a:tc>
                  <a:txBody>
                    <a:bodyPr/>
                    <a:lstStyle/>
                    <a:p>
                      <a:pPr algn="ctr"/>
                      <a:r>
                        <a:rPr lang="en-US" sz="1800" b="1" dirty="0"/>
                        <a:t>1</a:t>
                      </a:r>
                    </a:p>
                  </a:txBody>
                  <a:tcPr marL="79428" marR="79428" marT="39714" marB="39714" anchor="ctr"/>
                </a:tc>
                <a:tc>
                  <a:txBody>
                    <a:bodyPr/>
                    <a:lstStyle/>
                    <a:p>
                      <a:pPr algn="ctr"/>
                      <a:r>
                        <a:rPr lang="en-US" sz="1800" b="1" dirty="0"/>
                        <a:t>4</a:t>
                      </a:r>
                    </a:p>
                  </a:txBody>
                  <a:tcPr marL="79428" marR="79428" marT="39714" marB="39714" anchor="ctr"/>
                </a:tc>
                <a:tc>
                  <a:txBody>
                    <a:bodyPr/>
                    <a:lstStyle/>
                    <a:p>
                      <a:pPr algn="ctr"/>
                      <a:r>
                        <a:rPr lang="en-US" sz="1800" b="1" dirty="0"/>
                        <a:t>7</a:t>
                      </a:r>
                    </a:p>
                  </a:txBody>
                  <a:tcPr marL="79428" marR="79428" marT="39714" marB="39714" anchor="ctr"/>
                </a:tc>
                <a:extLst>
                  <a:ext uri="{0D108BD9-81ED-4DB2-BD59-A6C34878D82A}">
                    <a16:rowId xmlns:a16="http://schemas.microsoft.com/office/drawing/2014/main" val="3957164098"/>
                  </a:ext>
                </a:extLst>
              </a:tr>
            </a:tbl>
          </a:graphicData>
        </a:graphic>
      </p:graphicFrame>
      <p:sp>
        <p:nvSpPr>
          <p:cNvPr id="8" name="Rectangle 7">
            <a:extLst>
              <a:ext uri="{FF2B5EF4-FFF2-40B4-BE49-F238E27FC236}">
                <a16:creationId xmlns:a16="http://schemas.microsoft.com/office/drawing/2014/main" id="{A65E1CE6-F5FE-ED66-9FD5-3BC383990B86}"/>
              </a:ext>
            </a:extLst>
          </p:cNvPr>
          <p:cNvSpPr/>
          <p:nvPr/>
        </p:nvSpPr>
        <p:spPr>
          <a:xfrm>
            <a:off x="6839472" y="3867538"/>
            <a:ext cx="4641328" cy="16120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en-US" sz="1600" i="1" dirty="0">
                <a:solidFill>
                  <a:srgbClr val="000000"/>
                </a:solidFill>
                <a:latin typeface="+mj-lt"/>
              </a:rPr>
              <a:t>If this data displays as unknown, more than likely, the data cells provided were blank. Many districts do not actively track this in their data systems and the information lies in exit interviews and in the memories of principal supervisors. If this is your situation, consider implementing data governance around this field and creating processes to actively track this in a consistent manner going forward.</a:t>
            </a:r>
            <a:endParaRPr lang="en-US" sz="1600" i="1" dirty="0">
              <a:latin typeface="+mj-lt"/>
            </a:endParaRPr>
          </a:p>
        </p:txBody>
      </p:sp>
    </p:spTree>
    <p:extLst>
      <p:ext uri="{BB962C8B-B14F-4D97-AF65-F5344CB8AC3E}">
        <p14:creationId xmlns:p14="http://schemas.microsoft.com/office/powerpoint/2010/main" val="669703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A35DB1-3550-F4D5-7710-202D7CA1CA4B}"/>
              </a:ext>
            </a:extLst>
          </p:cNvPr>
          <p:cNvSpPr>
            <a:spLocks noGrp="1"/>
          </p:cNvSpPr>
          <p:nvPr>
            <p:ph type="title"/>
          </p:nvPr>
        </p:nvSpPr>
        <p:spPr/>
        <p:txBody>
          <a:bodyPr/>
          <a:lstStyle/>
          <a:p>
            <a:endParaRPr lang="en-US"/>
          </a:p>
        </p:txBody>
      </p:sp>
      <p:sp>
        <p:nvSpPr>
          <p:cNvPr id="5" name="Text Placeholder 4">
            <a:extLst>
              <a:ext uri="{FF2B5EF4-FFF2-40B4-BE49-F238E27FC236}">
                <a16:creationId xmlns:a16="http://schemas.microsoft.com/office/drawing/2014/main" id="{9C9073E1-CED4-0ACC-1983-016350D58DB0}"/>
              </a:ext>
            </a:extLst>
          </p:cNvPr>
          <p:cNvSpPr>
            <a:spLocks noGrp="1"/>
          </p:cNvSpPr>
          <p:nvPr>
            <p:ph type="body" sz="quarter" idx="11"/>
          </p:nvPr>
        </p:nvSpPr>
        <p:spPr/>
        <p:txBody>
          <a:bodyPr/>
          <a:lstStyle/>
          <a:p>
            <a:endParaRPr lang="en-US"/>
          </a:p>
        </p:txBody>
      </p:sp>
      <p:sp>
        <p:nvSpPr>
          <p:cNvPr id="6" name="Rectangle 5">
            <a:extLst>
              <a:ext uri="{FF2B5EF4-FFF2-40B4-BE49-F238E27FC236}">
                <a16:creationId xmlns:a16="http://schemas.microsoft.com/office/drawing/2014/main" id="{7E511DC4-7105-E557-ED03-45C8DD761BA2}"/>
              </a:ext>
            </a:extLst>
          </p:cNvPr>
          <p:cNvSpPr/>
          <p:nvPr/>
        </p:nvSpPr>
        <p:spPr>
          <a:xfrm>
            <a:off x="0" y="2422122"/>
            <a:ext cx="12192000" cy="3746902"/>
          </a:xfrm>
          <a:prstGeom prst="rect">
            <a:avLst/>
          </a:prstGeom>
          <a:solidFill>
            <a:srgbClr val="0072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0BA9F01-7935-C600-E7EA-33F188C1992C}"/>
              </a:ext>
            </a:extLst>
          </p:cNvPr>
          <p:cNvSpPr/>
          <p:nvPr/>
        </p:nvSpPr>
        <p:spPr>
          <a:xfrm>
            <a:off x="0" y="0"/>
            <a:ext cx="12192000" cy="2420535"/>
          </a:xfrm>
          <a:prstGeom prst="rect">
            <a:avLst/>
          </a:prstGeom>
          <a:solidFill>
            <a:srgbClr val="7ED0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Shape 7">
            <a:extLst>
              <a:ext uri="{FF2B5EF4-FFF2-40B4-BE49-F238E27FC236}">
                <a16:creationId xmlns:a16="http://schemas.microsoft.com/office/drawing/2014/main" id="{F4C6E959-A44F-234C-9759-5492273772C7}"/>
              </a:ext>
            </a:extLst>
          </p:cNvPr>
          <p:cNvSpPr/>
          <p:nvPr/>
        </p:nvSpPr>
        <p:spPr>
          <a:xfrm>
            <a:off x="4292016" y="2045961"/>
            <a:ext cx="3933021" cy="4340646"/>
          </a:xfrm>
          <a:custGeom>
            <a:avLst/>
            <a:gdLst>
              <a:gd name="connsiteX0" fmla="*/ 572877 w 3933021"/>
              <a:gd name="connsiteY0" fmla="*/ 429658 h 4340646"/>
              <a:gd name="connsiteX1" fmla="*/ 0 w 3933021"/>
              <a:gd name="connsiteY1" fmla="*/ 881350 h 4340646"/>
              <a:gd name="connsiteX2" fmla="*/ 143219 w 3933021"/>
              <a:gd name="connsiteY2" fmla="*/ 1266940 h 4340646"/>
              <a:gd name="connsiteX3" fmla="*/ 385590 w 3933021"/>
              <a:gd name="connsiteY3" fmla="*/ 1608463 h 4340646"/>
              <a:gd name="connsiteX4" fmla="*/ 517792 w 3933021"/>
              <a:gd name="connsiteY4" fmla="*/ 2467779 h 4340646"/>
              <a:gd name="connsiteX5" fmla="*/ 727113 w 3933021"/>
              <a:gd name="connsiteY5" fmla="*/ 3139808 h 4340646"/>
              <a:gd name="connsiteX6" fmla="*/ 1068636 w 3933021"/>
              <a:gd name="connsiteY6" fmla="*/ 3371162 h 4340646"/>
              <a:gd name="connsiteX7" fmla="*/ 1255922 w 3933021"/>
              <a:gd name="connsiteY7" fmla="*/ 3161841 h 4340646"/>
              <a:gd name="connsiteX8" fmla="*/ 1608462 w 3933021"/>
              <a:gd name="connsiteY8" fmla="*/ 3910988 h 4340646"/>
              <a:gd name="connsiteX9" fmla="*/ 1674563 w 3933021"/>
              <a:gd name="connsiteY9" fmla="*/ 4340646 h 4340646"/>
              <a:gd name="connsiteX10" fmla="*/ 2555913 w 3933021"/>
              <a:gd name="connsiteY10" fmla="*/ 3745735 h 4340646"/>
              <a:gd name="connsiteX11" fmla="*/ 2864385 w 3933021"/>
              <a:gd name="connsiteY11" fmla="*/ 2622015 h 4340646"/>
              <a:gd name="connsiteX12" fmla="*/ 3040655 w 3933021"/>
              <a:gd name="connsiteY12" fmla="*/ 2566930 h 4340646"/>
              <a:gd name="connsiteX13" fmla="*/ 3404212 w 3933021"/>
              <a:gd name="connsiteY13" fmla="*/ 2633032 h 4340646"/>
              <a:gd name="connsiteX14" fmla="*/ 3536414 w 3933021"/>
              <a:gd name="connsiteY14" fmla="*/ 2104222 h 4340646"/>
              <a:gd name="connsiteX15" fmla="*/ 3756751 w 3933021"/>
              <a:gd name="connsiteY15" fmla="*/ 1883885 h 4340646"/>
              <a:gd name="connsiteX16" fmla="*/ 3933021 w 3933021"/>
              <a:gd name="connsiteY16" fmla="*/ 1090670 h 4340646"/>
              <a:gd name="connsiteX17" fmla="*/ 3382178 w 3933021"/>
              <a:gd name="connsiteY17" fmla="*/ 363557 h 4340646"/>
              <a:gd name="connsiteX18" fmla="*/ 1806766 w 3933021"/>
              <a:gd name="connsiteY18" fmla="*/ 0 h 4340646"/>
              <a:gd name="connsiteX19" fmla="*/ 572877 w 3933021"/>
              <a:gd name="connsiteY19" fmla="*/ 429658 h 4340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33021" h="4340646">
                <a:moveTo>
                  <a:pt x="572877" y="429658"/>
                </a:moveTo>
                <a:lnTo>
                  <a:pt x="0" y="881350"/>
                </a:lnTo>
                <a:lnTo>
                  <a:pt x="143219" y="1266940"/>
                </a:lnTo>
                <a:lnTo>
                  <a:pt x="385590" y="1608463"/>
                </a:lnTo>
                <a:lnTo>
                  <a:pt x="517792" y="2467779"/>
                </a:lnTo>
                <a:lnTo>
                  <a:pt x="727113" y="3139808"/>
                </a:lnTo>
                <a:lnTo>
                  <a:pt x="1068636" y="3371162"/>
                </a:lnTo>
                <a:lnTo>
                  <a:pt x="1255922" y="3161841"/>
                </a:lnTo>
                <a:lnTo>
                  <a:pt x="1608462" y="3910988"/>
                </a:lnTo>
                <a:lnTo>
                  <a:pt x="1674563" y="4340646"/>
                </a:lnTo>
                <a:lnTo>
                  <a:pt x="2555913" y="3745735"/>
                </a:lnTo>
                <a:lnTo>
                  <a:pt x="2864385" y="2622015"/>
                </a:lnTo>
                <a:lnTo>
                  <a:pt x="3040655" y="2566930"/>
                </a:lnTo>
                <a:lnTo>
                  <a:pt x="3404212" y="2633032"/>
                </a:lnTo>
                <a:lnTo>
                  <a:pt x="3536414" y="2104222"/>
                </a:lnTo>
                <a:lnTo>
                  <a:pt x="3756751" y="1883885"/>
                </a:lnTo>
                <a:lnTo>
                  <a:pt x="3933021" y="1090670"/>
                </a:lnTo>
                <a:lnTo>
                  <a:pt x="3382178" y="363557"/>
                </a:lnTo>
                <a:lnTo>
                  <a:pt x="1806766" y="0"/>
                </a:lnTo>
                <a:lnTo>
                  <a:pt x="572877" y="429658"/>
                </a:lnTo>
                <a:close/>
              </a:path>
            </a:pathLst>
          </a:custGeom>
          <a:solidFill>
            <a:srgbClr val="0C2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20E82967-1A3E-1ABC-3F21-E2D080F51C3A}"/>
              </a:ext>
            </a:extLst>
          </p:cNvPr>
          <p:cNvSpPr/>
          <p:nvPr/>
        </p:nvSpPr>
        <p:spPr>
          <a:xfrm>
            <a:off x="5603023" y="933258"/>
            <a:ext cx="2060154" cy="1487277"/>
          </a:xfrm>
          <a:custGeom>
            <a:avLst/>
            <a:gdLst>
              <a:gd name="connsiteX0" fmla="*/ 870332 w 2060154"/>
              <a:gd name="connsiteY0" fmla="*/ 0 h 1487277"/>
              <a:gd name="connsiteX1" fmla="*/ 0 w 2060154"/>
              <a:gd name="connsiteY1" fmla="*/ 1487277 h 1487277"/>
              <a:gd name="connsiteX2" fmla="*/ 2060154 w 2060154"/>
              <a:gd name="connsiteY2" fmla="*/ 1476260 h 1487277"/>
              <a:gd name="connsiteX3" fmla="*/ 1740665 w 2060154"/>
              <a:gd name="connsiteY3" fmla="*/ 1266939 h 1487277"/>
              <a:gd name="connsiteX4" fmla="*/ 1729648 w 2060154"/>
              <a:gd name="connsiteY4" fmla="*/ 1024568 h 1487277"/>
              <a:gd name="connsiteX5" fmla="*/ 1586429 w 2060154"/>
              <a:gd name="connsiteY5" fmla="*/ 936433 h 1487277"/>
              <a:gd name="connsiteX6" fmla="*/ 1465243 w 2060154"/>
              <a:gd name="connsiteY6" fmla="*/ 1046602 h 1487277"/>
              <a:gd name="connsiteX7" fmla="*/ 1465243 w 2060154"/>
              <a:gd name="connsiteY7" fmla="*/ 738130 h 1487277"/>
              <a:gd name="connsiteX8" fmla="*/ 1178805 w 2060154"/>
              <a:gd name="connsiteY8" fmla="*/ 528809 h 1487277"/>
              <a:gd name="connsiteX9" fmla="*/ 1046602 w 2060154"/>
              <a:gd name="connsiteY9" fmla="*/ 220337 h 1487277"/>
              <a:gd name="connsiteX10" fmla="*/ 870332 w 2060154"/>
              <a:gd name="connsiteY10" fmla="*/ 0 h 148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0154" h="1487277">
                <a:moveTo>
                  <a:pt x="870332" y="0"/>
                </a:moveTo>
                <a:lnTo>
                  <a:pt x="0" y="1487277"/>
                </a:lnTo>
                <a:lnTo>
                  <a:pt x="2060154" y="1476260"/>
                </a:lnTo>
                <a:lnTo>
                  <a:pt x="1740665" y="1266939"/>
                </a:lnTo>
                <a:lnTo>
                  <a:pt x="1729648" y="1024568"/>
                </a:lnTo>
                <a:lnTo>
                  <a:pt x="1586429" y="936433"/>
                </a:lnTo>
                <a:lnTo>
                  <a:pt x="1465243" y="1046602"/>
                </a:lnTo>
                <a:lnTo>
                  <a:pt x="1465243" y="738130"/>
                </a:lnTo>
                <a:lnTo>
                  <a:pt x="1178805" y="528809"/>
                </a:lnTo>
                <a:lnTo>
                  <a:pt x="1046602" y="220337"/>
                </a:lnTo>
                <a:lnTo>
                  <a:pt x="870332" y="0"/>
                </a:lnTo>
                <a:close/>
              </a:path>
            </a:pathLst>
          </a:custGeom>
          <a:solidFill>
            <a:srgbClr val="2093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E345AB09-F8D4-8F81-4ED5-E8815666D0CE}"/>
              </a:ext>
            </a:extLst>
          </p:cNvPr>
          <p:cNvSpPr/>
          <p:nvPr/>
        </p:nvSpPr>
        <p:spPr>
          <a:xfrm>
            <a:off x="4842859" y="900207"/>
            <a:ext cx="1850834" cy="1586429"/>
          </a:xfrm>
          <a:custGeom>
            <a:avLst/>
            <a:gdLst>
              <a:gd name="connsiteX0" fmla="*/ 0 w 1839817"/>
              <a:gd name="connsiteY0" fmla="*/ 1487277 h 1531345"/>
              <a:gd name="connsiteX1" fmla="*/ 517793 w 1839817"/>
              <a:gd name="connsiteY1" fmla="*/ 1355075 h 1531345"/>
              <a:gd name="connsiteX2" fmla="*/ 694062 w 1839817"/>
              <a:gd name="connsiteY2" fmla="*/ 1002535 h 1531345"/>
              <a:gd name="connsiteX3" fmla="*/ 749147 w 1839817"/>
              <a:gd name="connsiteY3" fmla="*/ 1123721 h 1531345"/>
              <a:gd name="connsiteX4" fmla="*/ 815248 w 1839817"/>
              <a:gd name="connsiteY4" fmla="*/ 881350 h 1531345"/>
              <a:gd name="connsiteX5" fmla="*/ 1035585 w 1839817"/>
              <a:gd name="connsiteY5" fmla="*/ 771181 h 1531345"/>
              <a:gd name="connsiteX6" fmla="*/ 1123720 w 1839817"/>
              <a:gd name="connsiteY6" fmla="*/ 539827 h 1531345"/>
              <a:gd name="connsiteX7" fmla="*/ 1101687 w 1839817"/>
              <a:gd name="connsiteY7" fmla="*/ 451692 h 1531345"/>
              <a:gd name="connsiteX8" fmla="*/ 1233889 w 1839817"/>
              <a:gd name="connsiteY8" fmla="*/ 473725 h 1531345"/>
              <a:gd name="connsiteX9" fmla="*/ 1266940 w 1839817"/>
              <a:gd name="connsiteY9" fmla="*/ 528810 h 1531345"/>
              <a:gd name="connsiteX10" fmla="*/ 1366091 w 1839817"/>
              <a:gd name="connsiteY10" fmla="*/ 385590 h 1531345"/>
              <a:gd name="connsiteX11" fmla="*/ 1355075 w 1839817"/>
              <a:gd name="connsiteY11" fmla="*/ 220337 h 1531345"/>
              <a:gd name="connsiteX12" fmla="*/ 1597446 w 1839817"/>
              <a:gd name="connsiteY12" fmla="*/ 0 h 1531345"/>
              <a:gd name="connsiteX13" fmla="*/ 1608462 w 1839817"/>
              <a:gd name="connsiteY13" fmla="*/ 154236 h 1531345"/>
              <a:gd name="connsiteX14" fmla="*/ 1542361 w 1839817"/>
              <a:gd name="connsiteY14" fmla="*/ 253388 h 1531345"/>
              <a:gd name="connsiteX15" fmla="*/ 1652530 w 1839817"/>
              <a:gd name="connsiteY15" fmla="*/ 495759 h 1531345"/>
              <a:gd name="connsiteX16" fmla="*/ 1520328 w 1839817"/>
              <a:gd name="connsiteY16" fmla="*/ 870333 h 1531345"/>
              <a:gd name="connsiteX17" fmla="*/ 1674564 w 1839817"/>
              <a:gd name="connsiteY17" fmla="*/ 892366 h 1531345"/>
              <a:gd name="connsiteX18" fmla="*/ 1740665 w 1839817"/>
              <a:gd name="connsiteY18" fmla="*/ 826265 h 1531345"/>
              <a:gd name="connsiteX19" fmla="*/ 1839817 w 1839817"/>
              <a:gd name="connsiteY19" fmla="*/ 991518 h 1531345"/>
              <a:gd name="connsiteX20" fmla="*/ 1652530 w 1839817"/>
              <a:gd name="connsiteY20" fmla="*/ 1255923 h 1531345"/>
              <a:gd name="connsiteX21" fmla="*/ 1465243 w 1839817"/>
              <a:gd name="connsiteY21" fmla="*/ 1266940 h 1531345"/>
              <a:gd name="connsiteX22" fmla="*/ 1454226 w 1839817"/>
              <a:gd name="connsiteY22" fmla="*/ 1134737 h 1531345"/>
              <a:gd name="connsiteX23" fmla="*/ 1090670 w 1839817"/>
              <a:gd name="connsiteY23" fmla="*/ 1531345 h 1531345"/>
              <a:gd name="connsiteX24" fmla="*/ 0 w 1839817"/>
              <a:gd name="connsiteY24" fmla="*/ 1487277 h 1531345"/>
              <a:gd name="connsiteX0" fmla="*/ 0 w 1850834"/>
              <a:gd name="connsiteY0" fmla="*/ 1586429 h 1586429"/>
              <a:gd name="connsiteX1" fmla="*/ 528810 w 1850834"/>
              <a:gd name="connsiteY1" fmla="*/ 1355075 h 1586429"/>
              <a:gd name="connsiteX2" fmla="*/ 705079 w 1850834"/>
              <a:gd name="connsiteY2" fmla="*/ 1002535 h 1586429"/>
              <a:gd name="connsiteX3" fmla="*/ 760164 w 1850834"/>
              <a:gd name="connsiteY3" fmla="*/ 1123721 h 1586429"/>
              <a:gd name="connsiteX4" fmla="*/ 826265 w 1850834"/>
              <a:gd name="connsiteY4" fmla="*/ 881350 h 1586429"/>
              <a:gd name="connsiteX5" fmla="*/ 1046602 w 1850834"/>
              <a:gd name="connsiteY5" fmla="*/ 771181 h 1586429"/>
              <a:gd name="connsiteX6" fmla="*/ 1134737 w 1850834"/>
              <a:gd name="connsiteY6" fmla="*/ 539827 h 1586429"/>
              <a:gd name="connsiteX7" fmla="*/ 1112704 w 1850834"/>
              <a:gd name="connsiteY7" fmla="*/ 451692 h 1586429"/>
              <a:gd name="connsiteX8" fmla="*/ 1244906 w 1850834"/>
              <a:gd name="connsiteY8" fmla="*/ 473725 h 1586429"/>
              <a:gd name="connsiteX9" fmla="*/ 1277957 w 1850834"/>
              <a:gd name="connsiteY9" fmla="*/ 528810 h 1586429"/>
              <a:gd name="connsiteX10" fmla="*/ 1377108 w 1850834"/>
              <a:gd name="connsiteY10" fmla="*/ 385590 h 1586429"/>
              <a:gd name="connsiteX11" fmla="*/ 1366092 w 1850834"/>
              <a:gd name="connsiteY11" fmla="*/ 220337 h 1586429"/>
              <a:gd name="connsiteX12" fmla="*/ 1608463 w 1850834"/>
              <a:gd name="connsiteY12" fmla="*/ 0 h 1586429"/>
              <a:gd name="connsiteX13" fmla="*/ 1619479 w 1850834"/>
              <a:gd name="connsiteY13" fmla="*/ 154236 h 1586429"/>
              <a:gd name="connsiteX14" fmla="*/ 1553378 w 1850834"/>
              <a:gd name="connsiteY14" fmla="*/ 253388 h 1586429"/>
              <a:gd name="connsiteX15" fmla="*/ 1663547 w 1850834"/>
              <a:gd name="connsiteY15" fmla="*/ 495759 h 1586429"/>
              <a:gd name="connsiteX16" fmla="*/ 1531345 w 1850834"/>
              <a:gd name="connsiteY16" fmla="*/ 870333 h 1586429"/>
              <a:gd name="connsiteX17" fmla="*/ 1685581 w 1850834"/>
              <a:gd name="connsiteY17" fmla="*/ 892366 h 1586429"/>
              <a:gd name="connsiteX18" fmla="*/ 1751682 w 1850834"/>
              <a:gd name="connsiteY18" fmla="*/ 826265 h 1586429"/>
              <a:gd name="connsiteX19" fmla="*/ 1850834 w 1850834"/>
              <a:gd name="connsiteY19" fmla="*/ 991518 h 1586429"/>
              <a:gd name="connsiteX20" fmla="*/ 1663547 w 1850834"/>
              <a:gd name="connsiteY20" fmla="*/ 1255923 h 1586429"/>
              <a:gd name="connsiteX21" fmla="*/ 1476260 w 1850834"/>
              <a:gd name="connsiteY21" fmla="*/ 1266940 h 1586429"/>
              <a:gd name="connsiteX22" fmla="*/ 1465243 w 1850834"/>
              <a:gd name="connsiteY22" fmla="*/ 1134737 h 1586429"/>
              <a:gd name="connsiteX23" fmla="*/ 1101687 w 1850834"/>
              <a:gd name="connsiteY23" fmla="*/ 1531345 h 1586429"/>
              <a:gd name="connsiteX24" fmla="*/ 0 w 1850834"/>
              <a:gd name="connsiteY24" fmla="*/ 1586429 h 15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0834" h="1586429">
                <a:moveTo>
                  <a:pt x="0" y="1586429"/>
                </a:moveTo>
                <a:lnTo>
                  <a:pt x="528810" y="1355075"/>
                </a:lnTo>
                <a:lnTo>
                  <a:pt x="705079" y="1002535"/>
                </a:lnTo>
                <a:lnTo>
                  <a:pt x="760164" y="1123721"/>
                </a:lnTo>
                <a:lnTo>
                  <a:pt x="826265" y="881350"/>
                </a:lnTo>
                <a:lnTo>
                  <a:pt x="1046602" y="771181"/>
                </a:lnTo>
                <a:lnTo>
                  <a:pt x="1134737" y="539827"/>
                </a:lnTo>
                <a:lnTo>
                  <a:pt x="1112704" y="451692"/>
                </a:lnTo>
                <a:lnTo>
                  <a:pt x="1244906" y="473725"/>
                </a:lnTo>
                <a:lnTo>
                  <a:pt x="1277957" y="528810"/>
                </a:lnTo>
                <a:lnTo>
                  <a:pt x="1377108" y="385590"/>
                </a:lnTo>
                <a:lnTo>
                  <a:pt x="1366092" y="220337"/>
                </a:lnTo>
                <a:lnTo>
                  <a:pt x="1608463" y="0"/>
                </a:lnTo>
                <a:lnTo>
                  <a:pt x="1619479" y="154236"/>
                </a:lnTo>
                <a:lnTo>
                  <a:pt x="1553378" y="253388"/>
                </a:lnTo>
                <a:lnTo>
                  <a:pt x="1663547" y="495759"/>
                </a:lnTo>
                <a:lnTo>
                  <a:pt x="1531345" y="870333"/>
                </a:lnTo>
                <a:lnTo>
                  <a:pt x="1685581" y="892366"/>
                </a:lnTo>
                <a:lnTo>
                  <a:pt x="1751682" y="826265"/>
                </a:lnTo>
                <a:lnTo>
                  <a:pt x="1850834" y="991518"/>
                </a:lnTo>
                <a:lnTo>
                  <a:pt x="1663547" y="1255923"/>
                </a:lnTo>
                <a:lnTo>
                  <a:pt x="1476260" y="1266940"/>
                </a:lnTo>
                <a:lnTo>
                  <a:pt x="1465243" y="1134737"/>
                </a:lnTo>
                <a:lnTo>
                  <a:pt x="1101687" y="1531345"/>
                </a:lnTo>
                <a:lnTo>
                  <a:pt x="0" y="158642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6A064C6F-73C5-C5ED-C2E9-C44217D5DD04}"/>
              </a:ext>
            </a:extLst>
          </p:cNvPr>
          <p:cNvSpPr/>
          <p:nvPr/>
        </p:nvSpPr>
        <p:spPr>
          <a:xfrm>
            <a:off x="4457269" y="2431552"/>
            <a:ext cx="1476260" cy="1079653"/>
          </a:xfrm>
          <a:custGeom>
            <a:avLst/>
            <a:gdLst>
              <a:gd name="connsiteX0" fmla="*/ 451691 w 1476260"/>
              <a:gd name="connsiteY0" fmla="*/ 33050 h 1079653"/>
              <a:gd name="connsiteX1" fmla="*/ 0 w 1476260"/>
              <a:gd name="connsiteY1" fmla="*/ 407624 h 1079653"/>
              <a:gd name="connsiteX2" fmla="*/ 716096 w 1476260"/>
              <a:gd name="connsiteY2" fmla="*/ 385590 h 1079653"/>
              <a:gd name="connsiteX3" fmla="*/ 969484 w 1476260"/>
              <a:gd name="connsiteY3" fmla="*/ 1079653 h 1079653"/>
              <a:gd name="connsiteX4" fmla="*/ 1046602 w 1476260"/>
              <a:gd name="connsiteY4" fmla="*/ 407624 h 1079653"/>
              <a:gd name="connsiteX5" fmla="*/ 1476260 w 1476260"/>
              <a:gd name="connsiteY5" fmla="*/ 0 h 1079653"/>
              <a:gd name="connsiteX6" fmla="*/ 451691 w 1476260"/>
              <a:gd name="connsiteY6" fmla="*/ 33050 h 107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6260" h="1079653">
                <a:moveTo>
                  <a:pt x="451691" y="33050"/>
                </a:moveTo>
                <a:lnTo>
                  <a:pt x="0" y="407624"/>
                </a:lnTo>
                <a:lnTo>
                  <a:pt x="716096" y="385590"/>
                </a:lnTo>
                <a:lnTo>
                  <a:pt x="969484" y="1079653"/>
                </a:lnTo>
                <a:lnTo>
                  <a:pt x="1046602" y="407624"/>
                </a:lnTo>
                <a:lnTo>
                  <a:pt x="1476260" y="0"/>
                </a:lnTo>
                <a:lnTo>
                  <a:pt x="451691" y="33050"/>
                </a:lnTo>
                <a:close/>
              </a:path>
            </a:pathLst>
          </a:custGeom>
          <a:solidFill>
            <a:srgbClr val="073F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0548B0A9-74FB-DC1F-00C8-97FB682CE2D5}"/>
              </a:ext>
            </a:extLst>
          </p:cNvPr>
          <p:cNvSpPr/>
          <p:nvPr/>
        </p:nvSpPr>
        <p:spPr>
          <a:xfrm>
            <a:off x="7024199" y="2431552"/>
            <a:ext cx="1145754" cy="672029"/>
          </a:xfrm>
          <a:custGeom>
            <a:avLst/>
            <a:gdLst>
              <a:gd name="connsiteX0" fmla="*/ 0 w 1145754"/>
              <a:gd name="connsiteY0" fmla="*/ 44067 h 672029"/>
              <a:gd name="connsiteX1" fmla="*/ 253388 w 1145754"/>
              <a:gd name="connsiteY1" fmla="*/ 198303 h 672029"/>
              <a:gd name="connsiteX2" fmla="*/ 143219 w 1145754"/>
              <a:gd name="connsiteY2" fmla="*/ 638978 h 672029"/>
              <a:gd name="connsiteX3" fmla="*/ 506776 w 1145754"/>
              <a:gd name="connsiteY3" fmla="*/ 308472 h 672029"/>
              <a:gd name="connsiteX4" fmla="*/ 1145754 w 1145754"/>
              <a:gd name="connsiteY4" fmla="*/ 672029 h 672029"/>
              <a:gd name="connsiteX5" fmla="*/ 638978 w 1145754"/>
              <a:gd name="connsiteY5" fmla="*/ 0 h 672029"/>
              <a:gd name="connsiteX6" fmla="*/ 0 w 1145754"/>
              <a:gd name="connsiteY6" fmla="*/ 44067 h 672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5754" h="672029">
                <a:moveTo>
                  <a:pt x="0" y="44067"/>
                </a:moveTo>
                <a:lnTo>
                  <a:pt x="253388" y="198303"/>
                </a:lnTo>
                <a:lnTo>
                  <a:pt x="143219" y="638978"/>
                </a:lnTo>
                <a:lnTo>
                  <a:pt x="506776" y="308472"/>
                </a:lnTo>
                <a:lnTo>
                  <a:pt x="1145754" y="672029"/>
                </a:lnTo>
                <a:lnTo>
                  <a:pt x="638978" y="0"/>
                </a:lnTo>
                <a:lnTo>
                  <a:pt x="0" y="44067"/>
                </a:lnTo>
                <a:close/>
              </a:path>
            </a:pathLst>
          </a:custGeom>
          <a:solidFill>
            <a:srgbClr val="073F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12">
            <a:extLst>
              <a:ext uri="{FF2B5EF4-FFF2-40B4-BE49-F238E27FC236}">
                <a16:creationId xmlns:a16="http://schemas.microsoft.com/office/drawing/2014/main" id="{8067C73C-5446-0D80-AE89-AB961999571C}"/>
              </a:ext>
            </a:extLst>
          </p:cNvPr>
          <p:cNvSpPr/>
          <p:nvPr/>
        </p:nvSpPr>
        <p:spPr>
          <a:xfrm>
            <a:off x="5283534" y="3929846"/>
            <a:ext cx="2456761" cy="2379643"/>
          </a:xfrm>
          <a:custGeom>
            <a:avLst/>
            <a:gdLst>
              <a:gd name="connsiteX0" fmla="*/ 99151 w 2456761"/>
              <a:gd name="connsiteY0" fmla="*/ 1410159 h 2379643"/>
              <a:gd name="connsiteX1" fmla="*/ 0 w 2456761"/>
              <a:gd name="connsiteY1" fmla="*/ 1178805 h 2379643"/>
              <a:gd name="connsiteX2" fmla="*/ 319489 w 2456761"/>
              <a:gd name="connsiteY2" fmla="*/ 760164 h 2379643"/>
              <a:gd name="connsiteX3" fmla="*/ 749147 w 2456761"/>
              <a:gd name="connsiteY3" fmla="*/ 1949985 h 2379643"/>
              <a:gd name="connsiteX4" fmla="*/ 980501 w 2456761"/>
              <a:gd name="connsiteY4" fmla="*/ 1740665 h 2379643"/>
              <a:gd name="connsiteX5" fmla="*/ 1344057 w 2456761"/>
              <a:gd name="connsiteY5" fmla="*/ 0 h 2379643"/>
              <a:gd name="connsiteX6" fmla="*/ 1399142 w 2456761"/>
              <a:gd name="connsiteY6" fmla="*/ 1410159 h 2379643"/>
              <a:gd name="connsiteX7" fmla="*/ 1608462 w 2456761"/>
              <a:gd name="connsiteY7" fmla="*/ 1189821 h 2379643"/>
              <a:gd name="connsiteX8" fmla="*/ 1806766 w 2456761"/>
              <a:gd name="connsiteY8" fmla="*/ 462708 h 2379643"/>
              <a:gd name="connsiteX9" fmla="*/ 2280491 w 2456761"/>
              <a:gd name="connsiteY9" fmla="*/ 661012 h 2379643"/>
              <a:gd name="connsiteX10" fmla="*/ 2456761 w 2456761"/>
              <a:gd name="connsiteY10" fmla="*/ 539826 h 2379643"/>
              <a:gd name="connsiteX11" fmla="*/ 2357609 w 2456761"/>
              <a:gd name="connsiteY11" fmla="*/ 716096 h 2379643"/>
              <a:gd name="connsiteX12" fmla="*/ 1916935 w 2456761"/>
              <a:gd name="connsiteY12" fmla="*/ 672029 h 2379643"/>
              <a:gd name="connsiteX13" fmla="*/ 1641513 w 2456761"/>
              <a:gd name="connsiteY13" fmla="*/ 1344058 h 2379643"/>
              <a:gd name="connsiteX14" fmla="*/ 1509311 w 2456761"/>
              <a:gd name="connsiteY14" fmla="*/ 1905918 h 2379643"/>
              <a:gd name="connsiteX15" fmla="*/ 749147 w 2456761"/>
              <a:gd name="connsiteY15" fmla="*/ 2379643 h 2379643"/>
              <a:gd name="connsiteX16" fmla="*/ 583894 w 2456761"/>
              <a:gd name="connsiteY16" fmla="*/ 2016086 h 2379643"/>
              <a:gd name="connsiteX17" fmla="*/ 209320 w 2456761"/>
              <a:gd name="connsiteY17" fmla="*/ 1266939 h 2379643"/>
              <a:gd name="connsiteX18" fmla="*/ 99151 w 2456761"/>
              <a:gd name="connsiteY18" fmla="*/ 1410159 h 237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56761" h="2379643">
                <a:moveTo>
                  <a:pt x="99151" y="1410159"/>
                </a:moveTo>
                <a:lnTo>
                  <a:pt x="0" y="1178805"/>
                </a:lnTo>
                <a:lnTo>
                  <a:pt x="319489" y="760164"/>
                </a:lnTo>
                <a:lnTo>
                  <a:pt x="749147" y="1949985"/>
                </a:lnTo>
                <a:lnTo>
                  <a:pt x="980501" y="1740665"/>
                </a:lnTo>
                <a:lnTo>
                  <a:pt x="1344057" y="0"/>
                </a:lnTo>
                <a:lnTo>
                  <a:pt x="1399142" y="1410159"/>
                </a:lnTo>
                <a:lnTo>
                  <a:pt x="1608462" y="1189821"/>
                </a:lnTo>
                <a:lnTo>
                  <a:pt x="1806766" y="462708"/>
                </a:lnTo>
                <a:lnTo>
                  <a:pt x="2280491" y="661012"/>
                </a:lnTo>
                <a:lnTo>
                  <a:pt x="2456761" y="539826"/>
                </a:lnTo>
                <a:lnTo>
                  <a:pt x="2357609" y="716096"/>
                </a:lnTo>
                <a:lnTo>
                  <a:pt x="1916935" y="672029"/>
                </a:lnTo>
                <a:lnTo>
                  <a:pt x="1641513" y="1344058"/>
                </a:lnTo>
                <a:lnTo>
                  <a:pt x="1509311" y="1905918"/>
                </a:lnTo>
                <a:lnTo>
                  <a:pt x="749147" y="2379643"/>
                </a:lnTo>
                <a:lnTo>
                  <a:pt x="583894" y="2016086"/>
                </a:lnTo>
                <a:lnTo>
                  <a:pt x="209320" y="1266939"/>
                </a:lnTo>
                <a:lnTo>
                  <a:pt x="99151" y="1410159"/>
                </a:lnTo>
                <a:close/>
              </a:path>
            </a:pathLst>
          </a:custGeom>
          <a:solidFill>
            <a:srgbClr val="073F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1ED847F-D106-5E54-CD03-31E7473F6B68}"/>
              </a:ext>
            </a:extLst>
          </p:cNvPr>
          <p:cNvSpPr txBox="1"/>
          <p:nvPr/>
        </p:nvSpPr>
        <p:spPr>
          <a:xfrm>
            <a:off x="428294" y="1835181"/>
            <a:ext cx="1993135" cy="461665"/>
          </a:xfrm>
          <a:prstGeom prst="rect">
            <a:avLst/>
          </a:prstGeom>
          <a:noFill/>
        </p:spPr>
        <p:txBody>
          <a:bodyPr wrap="square" rtlCol="0">
            <a:spAutoFit/>
          </a:bodyPr>
          <a:lstStyle/>
          <a:p>
            <a:pPr algn="ctr"/>
            <a:r>
              <a:rPr lang="en-US" sz="2400" b="1">
                <a:solidFill>
                  <a:schemeClr val="tx2"/>
                </a:solidFill>
              </a:rPr>
              <a:t>Retirement</a:t>
            </a:r>
          </a:p>
        </p:txBody>
      </p:sp>
      <p:sp>
        <p:nvSpPr>
          <p:cNvPr id="15" name="TextBox 14">
            <a:extLst>
              <a:ext uri="{FF2B5EF4-FFF2-40B4-BE49-F238E27FC236}">
                <a16:creationId xmlns:a16="http://schemas.microsoft.com/office/drawing/2014/main" id="{7EED844E-5125-98AB-CBC0-0699ECC89C88}"/>
              </a:ext>
            </a:extLst>
          </p:cNvPr>
          <p:cNvSpPr txBox="1"/>
          <p:nvPr/>
        </p:nvSpPr>
        <p:spPr>
          <a:xfrm>
            <a:off x="3549878" y="1835181"/>
            <a:ext cx="2093200" cy="461665"/>
          </a:xfrm>
          <a:prstGeom prst="rect">
            <a:avLst/>
          </a:prstGeom>
          <a:noFill/>
        </p:spPr>
        <p:txBody>
          <a:bodyPr wrap="square" rtlCol="0">
            <a:spAutoFit/>
          </a:bodyPr>
          <a:lstStyle/>
          <a:p>
            <a:pPr algn="ctr"/>
            <a:r>
              <a:rPr lang="en-US" sz="2400" b="1">
                <a:solidFill>
                  <a:schemeClr val="tx2"/>
                </a:solidFill>
              </a:rPr>
              <a:t>Performance</a:t>
            </a:r>
          </a:p>
        </p:txBody>
      </p:sp>
      <p:sp>
        <p:nvSpPr>
          <p:cNvPr id="16" name="TextBox 15">
            <a:extLst>
              <a:ext uri="{FF2B5EF4-FFF2-40B4-BE49-F238E27FC236}">
                <a16:creationId xmlns:a16="http://schemas.microsoft.com/office/drawing/2014/main" id="{25D38978-AA0C-6894-71DF-D4C5FECDE635}"/>
              </a:ext>
            </a:extLst>
          </p:cNvPr>
          <p:cNvSpPr txBox="1"/>
          <p:nvPr/>
        </p:nvSpPr>
        <p:spPr>
          <a:xfrm>
            <a:off x="6771527" y="1835181"/>
            <a:ext cx="1993135" cy="461665"/>
          </a:xfrm>
          <a:prstGeom prst="rect">
            <a:avLst/>
          </a:prstGeom>
          <a:noFill/>
        </p:spPr>
        <p:txBody>
          <a:bodyPr wrap="square" rtlCol="0">
            <a:spAutoFit/>
          </a:bodyPr>
          <a:lstStyle/>
          <a:p>
            <a:pPr algn="ctr"/>
            <a:r>
              <a:rPr lang="en-US" sz="2400" b="1">
                <a:solidFill>
                  <a:schemeClr val="tx2"/>
                </a:solidFill>
              </a:rPr>
              <a:t>Attrition</a:t>
            </a:r>
          </a:p>
        </p:txBody>
      </p:sp>
      <p:sp>
        <p:nvSpPr>
          <p:cNvPr id="17" name="TextBox 16">
            <a:extLst>
              <a:ext uri="{FF2B5EF4-FFF2-40B4-BE49-F238E27FC236}">
                <a16:creationId xmlns:a16="http://schemas.microsoft.com/office/drawing/2014/main" id="{DFE1EA3F-5807-FF86-A553-76DA7E8FE962}"/>
              </a:ext>
            </a:extLst>
          </p:cNvPr>
          <p:cNvSpPr txBox="1"/>
          <p:nvPr/>
        </p:nvSpPr>
        <p:spPr>
          <a:xfrm>
            <a:off x="9893112" y="1835181"/>
            <a:ext cx="1993135" cy="461665"/>
          </a:xfrm>
          <a:prstGeom prst="rect">
            <a:avLst/>
          </a:prstGeom>
          <a:noFill/>
        </p:spPr>
        <p:txBody>
          <a:bodyPr wrap="square" rtlCol="0">
            <a:spAutoFit/>
          </a:bodyPr>
          <a:lstStyle/>
          <a:p>
            <a:pPr algn="ctr"/>
            <a:r>
              <a:rPr lang="en-US" sz="2400" b="1" dirty="0">
                <a:solidFill>
                  <a:schemeClr val="tx2"/>
                </a:solidFill>
              </a:rPr>
              <a:t>Promotion</a:t>
            </a:r>
          </a:p>
        </p:txBody>
      </p:sp>
      <p:sp>
        <p:nvSpPr>
          <p:cNvPr id="18" name="Freeform: Shape 17">
            <a:extLst>
              <a:ext uri="{FF2B5EF4-FFF2-40B4-BE49-F238E27FC236}">
                <a16:creationId xmlns:a16="http://schemas.microsoft.com/office/drawing/2014/main" id="{38CE935F-03FA-CE20-2E0A-2DA2EF14A37C}"/>
              </a:ext>
            </a:extLst>
          </p:cNvPr>
          <p:cNvSpPr/>
          <p:nvPr/>
        </p:nvSpPr>
        <p:spPr>
          <a:xfrm>
            <a:off x="4457269" y="2431552"/>
            <a:ext cx="1476260" cy="1079653"/>
          </a:xfrm>
          <a:custGeom>
            <a:avLst/>
            <a:gdLst>
              <a:gd name="connsiteX0" fmla="*/ 451691 w 1476260"/>
              <a:gd name="connsiteY0" fmla="*/ 33050 h 1079653"/>
              <a:gd name="connsiteX1" fmla="*/ 0 w 1476260"/>
              <a:gd name="connsiteY1" fmla="*/ 407624 h 1079653"/>
              <a:gd name="connsiteX2" fmla="*/ 716096 w 1476260"/>
              <a:gd name="connsiteY2" fmla="*/ 385590 h 1079653"/>
              <a:gd name="connsiteX3" fmla="*/ 969484 w 1476260"/>
              <a:gd name="connsiteY3" fmla="*/ 1079653 h 1079653"/>
              <a:gd name="connsiteX4" fmla="*/ 1046602 w 1476260"/>
              <a:gd name="connsiteY4" fmla="*/ 407624 h 1079653"/>
              <a:gd name="connsiteX5" fmla="*/ 1476260 w 1476260"/>
              <a:gd name="connsiteY5" fmla="*/ 0 h 1079653"/>
              <a:gd name="connsiteX6" fmla="*/ 451691 w 1476260"/>
              <a:gd name="connsiteY6" fmla="*/ 33050 h 107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6260" h="1079653">
                <a:moveTo>
                  <a:pt x="451691" y="33050"/>
                </a:moveTo>
                <a:lnTo>
                  <a:pt x="0" y="407624"/>
                </a:lnTo>
                <a:lnTo>
                  <a:pt x="716096" y="385590"/>
                </a:lnTo>
                <a:lnTo>
                  <a:pt x="969484" y="1079653"/>
                </a:lnTo>
                <a:lnTo>
                  <a:pt x="1046602" y="407624"/>
                </a:lnTo>
                <a:lnTo>
                  <a:pt x="1476260" y="0"/>
                </a:lnTo>
                <a:lnTo>
                  <a:pt x="451691" y="33050"/>
                </a:lnTo>
                <a:close/>
              </a:path>
            </a:pathLst>
          </a:custGeom>
          <a:solidFill>
            <a:srgbClr val="073F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Freeform: Shape 18">
            <a:extLst>
              <a:ext uri="{FF2B5EF4-FFF2-40B4-BE49-F238E27FC236}">
                <a16:creationId xmlns:a16="http://schemas.microsoft.com/office/drawing/2014/main" id="{2D7A5E95-5B88-C03D-5903-6564CDD29FD8}"/>
              </a:ext>
            </a:extLst>
          </p:cNvPr>
          <p:cNvSpPr/>
          <p:nvPr/>
        </p:nvSpPr>
        <p:spPr>
          <a:xfrm>
            <a:off x="7024199" y="2431552"/>
            <a:ext cx="1145754" cy="672029"/>
          </a:xfrm>
          <a:custGeom>
            <a:avLst/>
            <a:gdLst>
              <a:gd name="connsiteX0" fmla="*/ 0 w 1145754"/>
              <a:gd name="connsiteY0" fmla="*/ 44067 h 672029"/>
              <a:gd name="connsiteX1" fmla="*/ 253388 w 1145754"/>
              <a:gd name="connsiteY1" fmla="*/ 198303 h 672029"/>
              <a:gd name="connsiteX2" fmla="*/ 143219 w 1145754"/>
              <a:gd name="connsiteY2" fmla="*/ 638978 h 672029"/>
              <a:gd name="connsiteX3" fmla="*/ 506776 w 1145754"/>
              <a:gd name="connsiteY3" fmla="*/ 308472 h 672029"/>
              <a:gd name="connsiteX4" fmla="*/ 1145754 w 1145754"/>
              <a:gd name="connsiteY4" fmla="*/ 672029 h 672029"/>
              <a:gd name="connsiteX5" fmla="*/ 638978 w 1145754"/>
              <a:gd name="connsiteY5" fmla="*/ 0 h 672029"/>
              <a:gd name="connsiteX6" fmla="*/ 0 w 1145754"/>
              <a:gd name="connsiteY6" fmla="*/ 44067 h 672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5754" h="672029">
                <a:moveTo>
                  <a:pt x="0" y="44067"/>
                </a:moveTo>
                <a:lnTo>
                  <a:pt x="253388" y="198303"/>
                </a:lnTo>
                <a:lnTo>
                  <a:pt x="143219" y="638978"/>
                </a:lnTo>
                <a:lnTo>
                  <a:pt x="506776" y="308472"/>
                </a:lnTo>
                <a:lnTo>
                  <a:pt x="1145754" y="672029"/>
                </a:lnTo>
                <a:lnTo>
                  <a:pt x="638978" y="0"/>
                </a:lnTo>
                <a:lnTo>
                  <a:pt x="0" y="44067"/>
                </a:lnTo>
                <a:close/>
              </a:path>
            </a:pathLst>
          </a:custGeom>
          <a:solidFill>
            <a:srgbClr val="073F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0" name="TextBox 19">
            <a:extLst>
              <a:ext uri="{FF2B5EF4-FFF2-40B4-BE49-F238E27FC236}">
                <a16:creationId xmlns:a16="http://schemas.microsoft.com/office/drawing/2014/main" id="{2671AD15-36F1-2E93-367B-6BDDB3D83274}"/>
              </a:ext>
            </a:extLst>
          </p:cNvPr>
          <p:cNvSpPr txBox="1"/>
          <p:nvPr/>
        </p:nvSpPr>
        <p:spPr>
          <a:xfrm>
            <a:off x="465935" y="2473116"/>
            <a:ext cx="1840733" cy="2554545"/>
          </a:xfrm>
          <a:prstGeom prst="rect">
            <a:avLst/>
          </a:prstGeom>
          <a:noFill/>
        </p:spPr>
        <p:txBody>
          <a:bodyPr wrap="square">
            <a:spAutoFit/>
          </a:bodyPr>
          <a:lstStyle/>
          <a:p>
            <a:pPr algn="ctr"/>
            <a:r>
              <a:rPr lang="en-US" sz="1600" dirty="0">
                <a:solidFill>
                  <a:schemeClr val="bg1"/>
                </a:solidFill>
              </a:rPr>
              <a:t>What drives retention among those eligible for retirement?</a:t>
            </a:r>
          </a:p>
          <a:p>
            <a:pPr algn="ctr"/>
            <a:endParaRPr lang="en-US" sz="1600" dirty="0">
              <a:solidFill>
                <a:schemeClr val="bg1"/>
              </a:solidFill>
            </a:endParaRPr>
          </a:p>
          <a:p>
            <a:pPr algn="ctr"/>
            <a:r>
              <a:rPr lang="en-US" sz="1600" dirty="0">
                <a:solidFill>
                  <a:schemeClr val="bg1"/>
                </a:solidFill>
              </a:rPr>
              <a:t>How many years do principals typically stay in the role past their retirement eligibility?</a:t>
            </a:r>
          </a:p>
        </p:txBody>
      </p:sp>
      <p:sp>
        <p:nvSpPr>
          <p:cNvPr id="21" name="TextBox 20">
            <a:extLst>
              <a:ext uri="{FF2B5EF4-FFF2-40B4-BE49-F238E27FC236}">
                <a16:creationId xmlns:a16="http://schemas.microsoft.com/office/drawing/2014/main" id="{B87E6D39-CA6C-D9FC-45DF-908239EDC07C}"/>
              </a:ext>
            </a:extLst>
          </p:cNvPr>
          <p:cNvSpPr txBox="1"/>
          <p:nvPr/>
        </p:nvSpPr>
        <p:spPr>
          <a:xfrm>
            <a:off x="3676111" y="2473116"/>
            <a:ext cx="1840733" cy="3539430"/>
          </a:xfrm>
          <a:prstGeom prst="rect">
            <a:avLst/>
          </a:prstGeom>
          <a:noFill/>
        </p:spPr>
        <p:txBody>
          <a:bodyPr wrap="square">
            <a:spAutoFit/>
          </a:bodyPr>
          <a:lstStyle/>
          <a:p>
            <a:pPr algn="ctr"/>
            <a:r>
              <a:rPr lang="en-US" sz="1600" dirty="0">
                <a:solidFill>
                  <a:schemeClr val="bg1"/>
                </a:solidFill>
              </a:rPr>
              <a:t>How much shared visibility do we have into how principals are performing?  </a:t>
            </a:r>
          </a:p>
          <a:p>
            <a:pPr algn="ctr"/>
            <a:endParaRPr lang="en-US" sz="1600" dirty="0">
              <a:solidFill>
                <a:schemeClr val="bg1"/>
              </a:solidFill>
            </a:endParaRPr>
          </a:p>
          <a:p>
            <a:pPr algn="ctr"/>
            <a:r>
              <a:rPr lang="en-US" sz="1600" dirty="0">
                <a:solidFill>
                  <a:schemeClr val="bg1"/>
                </a:solidFill>
              </a:rPr>
              <a:t>What are the timelines for performance improvement?</a:t>
            </a:r>
          </a:p>
          <a:p>
            <a:pPr algn="ctr"/>
            <a:endParaRPr lang="en-US" sz="1600" dirty="0">
              <a:solidFill>
                <a:schemeClr val="bg1"/>
              </a:solidFill>
            </a:endParaRPr>
          </a:p>
          <a:p>
            <a:pPr algn="ctr"/>
            <a:r>
              <a:rPr lang="en-US" sz="1600" dirty="0">
                <a:solidFill>
                  <a:schemeClr val="bg1"/>
                </a:solidFill>
              </a:rPr>
              <a:t>How do we think about transfers as a way to drive performance?</a:t>
            </a:r>
          </a:p>
        </p:txBody>
      </p:sp>
      <p:sp>
        <p:nvSpPr>
          <p:cNvPr id="22" name="TextBox 21">
            <a:extLst>
              <a:ext uri="{FF2B5EF4-FFF2-40B4-BE49-F238E27FC236}">
                <a16:creationId xmlns:a16="http://schemas.microsoft.com/office/drawing/2014/main" id="{84C75720-E21A-320E-1CAB-74E98E1FABB5}"/>
              </a:ext>
            </a:extLst>
          </p:cNvPr>
          <p:cNvSpPr txBox="1"/>
          <p:nvPr/>
        </p:nvSpPr>
        <p:spPr>
          <a:xfrm>
            <a:off x="6847729" y="2473116"/>
            <a:ext cx="1840733" cy="3293209"/>
          </a:xfrm>
          <a:prstGeom prst="rect">
            <a:avLst/>
          </a:prstGeom>
          <a:noFill/>
        </p:spPr>
        <p:txBody>
          <a:bodyPr wrap="square">
            <a:spAutoFit/>
          </a:bodyPr>
          <a:lstStyle/>
          <a:p>
            <a:pPr algn="ctr"/>
            <a:r>
              <a:rPr lang="en-US" sz="1600" dirty="0">
                <a:solidFill>
                  <a:schemeClr val="bg1"/>
                </a:solidFill>
              </a:rPr>
              <a:t>How well do we understand career aspirations of our principals?</a:t>
            </a:r>
          </a:p>
          <a:p>
            <a:pPr algn="ctr"/>
            <a:endParaRPr lang="en-US" sz="1600" dirty="0">
              <a:solidFill>
                <a:schemeClr val="bg1"/>
              </a:solidFill>
            </a:endParaRPr>
          </a:p>
          <a:p>
            <a:pPr algn="ctr"/>
            <a:r>
              <a:rPr lang="en-US" sz="1600" dirty="0">
                <a:solidFill>
                  <a:schemeClr val="bg1"/>
                </a:solidFill>
              </a:rPr>
              <a:t>How well can we gauge satisfaction and engagement?</a:t>
            </a:r>
          </a:p>
          <a:p>
            <a:pPr algn="ctr"/>
            <a:endParaRPr lang="en-US" sz="1600" dirty="0">
              <a:solidFill>
                <a:schemeClr val="bg1"/>
              </a:solidFill>
            </a:endParaRPr>
          </a:p>
          <a:p>
            <a:pPr algn="ctr"/>
            <a:r>
              <a:rPr lang="en-US" sz="1600" dirty="0">
                <a:solidFill>
                  <a:schemeClr val="bg1"/>
                </a:solidFill>
              </a:rPr>
              <a:t>What draws leaders to our district vs. other nearby systems?</a:t>
            </a:r>
          </a:p>
        </p:txBody>
      </p:sp>
      <p:sp>
        <p:nvSpPr>
          <p:cNvPr id="23" name="TextBox 22">
            <a:extLst>
              <a:ext uri="{FF2B5EF4-FFF2-40B4-BE49-F238E27FC236}">
                <a16:creationId xmlns:a16="http://schemas.microsoft.com/office/drawing/2014/main" id="{99AAE30C-2A1E-5764-3C9F-D7B55FE9FA0F}"/>
              </a:ext>
            </a:extLst>
          </p:cNvPr>
          <p:cNvSpPr txBox="1"/>
          <p:nvPr/>
        </p:nvSpPr>
        <p:spPr>
          <a:xfrm>
            <a:off x="9911933" y="2473116"/>
            <a:ext cx="1955494" cy="3046988"/>
          </a:xfrm>
          <a:prstGeom prst="rect">
            <a:avLst/>
          </a:prstGeom>
          <a:noFill/>
        </p:spPr>
        <p:txBody>
          <a:bodyPr wrap="square">
            <a:spAutoFit/>
          </a:bodyPr>
          <a:lstStyle/>
          <a:p>
            <a:pPr algn="ctr"/>
            <a:r>
              <a:rPr lang="en-US" sz="1600" dirty="0">
                <a:solidFill>
                  <a:schemeClr val="bg1"/>
                </a:solidFill>
              </a:rPr>
              <a:t>Who is part of our backfill strategy? </a:t>
            </a:r>
          </a:p>
          <a:p>
            <a:pPr algn="ctr"/>
            <a:endParaRPr lang="en-US" sz="1600" dirty="0">
              <a:solidFill>
                <a:schemeClr val="bg1"/>
              </a:solidFill>
            </a:endParaRPr>
          </a:p>
          <a:p>
            <a:pPr algn="ctr"/>
            <a:r>
              <a:rPr lang="en-US" sz="1600" dirty="0">
                <a:solidFill>
                  <a:schemeClr val="bg1"/>
                </a:solidFill>
              </a:rPr>
              <a:t>Who are potential successors to CO leaders? </a:t>
            </a:r>
          </a:p>
          <a:p>
            <a:pPr algn="ctr"/>
            <a:endParaRPr lang="en-US" sz="1600" dirty="0">
              <a:solidFill>
                <a:schemeClr val="bg1"/>
              </a:solidFill>
            </a:endParaRPr>
          </a:p>
          <a:p>
            <a:pPr algn="ctr"/>
            <a:r>
              <a:rPr lang="en-US" sz="1600" dirty="0">
                <a:solidFill>
                  <a:schemeClr val="bg1"/>
                </a:solidFill>
              </a:rPr>
              <a:t>Where are we potentially creating new opportunities (roles, campuses, etc.)?</a:t>
            </a:r>
          </a:p>
        </p:txBody>
      </p:sp>
      <p:sp>
        <p:nvSpPr>
          <p:cNvPr id="2" name="Title 3">
            <a:extLst>
              <a:ext uri="{FF2B5EF4-FFF2-40B4-BE49-F238E27FC236}">
                <a16:creationId xmlns:a16="http://schemas.microsoft.com/office/drawing/2014/main" id="{DE7686B6-A56A-2E5E-E326-921128EA655F}"/>
              </a:ext>
            </a:extLst>
          </p:cNvPr>
          <p:cNvSpPr txBox="1">
            <a:spLocks/>
          </p:cNvSpPr>
          <p:nvPr/>
        </p:nvSpPr>
        <p:spPr>
          <a:xfrm>
            <a:off x="205676" y="120556"/>
            <a:ext cx="11125200" cy="350837"/>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ts val="1000"/>
              </a:spcBef>
              <a:spcAft>
                <a:spcPts val="0"/>
              </a:spcAft>
              <a:buNone/>
              <a:defRPr sz="2800" b="1" i="0" u="none" kern="1200" spc="0">
                <a:solidFill>
                  <a:schemeClr val="tx2">
                    <a:lumMod val="100000"/>
                  </a:schemeClr>
                </a:solidFill>
                <a:latin typeface="+mn-lt"/>
                <a:ea typeface="+mj-ea"/>
                <a:cs typeface="Arial" panose="020B0604020202020204" pitchFamily="34" charset="0"/>
              </a:defRPr>
            </a:lvl1pPr>
          </a:lstStyle>
          <a:p>
            <a:r>
              <a:rPr lang="en-US" dirty="0">
                <a:solidFill>
                  <a:schemeClr val="bg1"/>
                </a:solidFill>
              </a:rPr>
              <a:t>It can be useful to engage your team in a longer discussion about what is underlying the prominence of certain drivers</a:t>
            </a:r>
          </a:p>
          <a:p>
            <a:r>
              <a:rPr lang="en-US" sz="2400" b="0" i="1" dirty="0">
                <a:solidFill>
                  <a:schemeClr val="tx2"/>
                </a:solidFill>
              </a:rPr>
              <a:t>Below are some prompts to get you started</a:t>
            </a:r>
          </a:p>
        </p:txBody>
      </p:sp>
    </p:spTree>
    <p:extLst>
      <p:ext uri="{BB962C8B-B14F-4D97-AF65-F5344CB8AC3E}">
        <p14:creationId xmlns:p14="http://schemas.microsoft.com/office/powerpoint/2010/main" val="31764357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632AE1F-0065-6BB7-3BB8-4BE4B2523D47}"/>
              </a:ext>
            </a:extLst>
          </p:cNvPr>
          <p:cNvGraphicFramePr>
            <a:graphicFrameLocks noChangeAspect="1"/>
          </p:cNvGraphicFramePr>
          <p:nvPr>
            <p:custDataLst>
              <p:tags r:id="rId1"/>
            </p:custDataLst>
            <p:extLst>
              <p:ext uri="{D42A27DB-BD31-4B8C-83A1-F6EECF244321}">
                <p14:modId xmlns:p14="http://schemas.microsoft.com/office/powerpoint/2010/main" val="4040263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632AE1F-0065-6BB7-3BB8-4BE4B2523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21274D9-F72A-B9BA-7B37-4AB6B0CE7AC9}"/>
              </a:ext>
            </a:extLst>
          </p:cNvPr>
          <p:cNvSpPr>
            <a:spLocks noGrp="1"/>
          </p:cNvSpPr>
          <p:nvPr>
            <p:ph type="title"/>
          </p:nvPr>
        </p:nvSpPr>
        <p:spPr/>
        <p:txBody>
          <a:bodyPr vert="horz"/>
          <a:lstStyle/>
          <a:p>
            <a:r>
              <a:rPr lang="en-US" dirty="0">
                <a:solidFill>
                  <a:schemeClr val="accent1"/>
                </a:solidFill>
              </a:rPr>
              <a:t>Forecast Vacancies Question 3 (step 1) | </a:t>
            </a:r>
            <a:r>
              <a:rPr lang="en-US" sz="2800" b="1" dirty="0"/>
              <a:t>Where are these vacancies most likely to occur?</a:t>
            </a:r>
            <a:endParaRPr lang="en-US" dirty="0"/>
          </a:p>
        </p:txBody>
      </p:sp>
      <p:sp>
        <p:nvSpPr>
          <p:cNvPr id="14" name="Rectangle 13">
            <a:extLst>
              <a:ext uri="{FF2B5EF4-FFF2-40B4-BE49-F238E27FC236}">
                <a16:creationId xmlns:a16="http://schemas.microsoft.com/office/drawing/2014/main" id="{06AD4ADE-FF88-B428-E53E-1434289D925A}"/>
              </a:ext>
            </a:extLst>
          </p:cNvPr>
          <p:cNvSpPr/>
          <p:nvPr/>
        </p:nvSpPr>
        <p:spPr>
          <a:xfrm>
            <a:off x="355598" y="1197567"/>
            <a:ext cx="9647382" cy="2546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l" fontAlgn="b"/>
            <a:r>
              <a:rPr lang="en-US" b="1" i="0" u="none" strike="noStrike" dirty="0">
                <a:solidFill>
                  <a:srgbClr val="002F6E"/>
                </a:solidFill>
                <a:effectLst/>
                <a:latin typeface="+mj-lt"/>
              </a:rPr>
              <a:t>Step 3: Make hypotheses about specific schools that might have vacancies </a:t>
            </a:r>
          </a:p>
        </p:txBody>
      </p:sp>
      <p:sp>
        <p:nvSpPr>
          <p:cNvPr id="15" name="Rectangle 14">
            <a:extLst>
              <a:ext uri="{FF2B5EF4-FFF2-40B4-BE49-F238E27FC236}">
                <a16:creationId xmlns:a16="http://schemas.microsoft.com/office/drawing/2014/main" id="{268FB826-F0DC-84EC-422D-836D45329610}"/>
              </a:ext>
            </a:extLst>
          </p:cNvPr>
          <p:cNvSpPr/>
          <p:nvPr/>
        </p:nvSpPr>
        <p:spPr>
          <a:xfrm>
            <a:off x="355598" y="1615954"/>
            <a:ext cx="3967019" cy="276014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400" b="1" u="none" strike="noStrike" dirty="0">
                <a:solidFill>
                  <a:schemeClr val="tx1"/>
                </a:solidFill>
                <a:effectLst/>
                <a:latin typeface="+mj-lt"/>
              </a:rPr>
              <a:t>Directions: </a:t>
            </a:r>
            <a:r>
              <a:rPr lang="en-US" sz="1400" u="none" strike="noStrike" dirty="0">
                <a:solidFill>
                  <a:schemeClr val="tx1"/>
                </a:solidFill>
                <a:effectLst/>
                <a:latin typeface="+mj-lt"/>
              </a:rPr>
              <a:t>This step will be completed leveraging the table on slide 20 of this document. </a:t>
            </a:r>
            <a:endParaRPr lang="en-US" sz="1400" dirty="0">
              <a:solidFill>
                <a:schemeClr val="tx1"/>
              </a:solidFill>
              <a:latin typeface="+mj-lt"/>
            </a:endParaRPr>
          </a:p>
          <a:p>
            <a:r>
              <a:rPr lang="en-US" sz="1400" i="1" dirty="0">
                <a:solidFill>
                  <a:schemeClr val="tx1"/>
                </a:solidFill>
                <a:latin typeface="+mj-lt"/>
              </a:rPr>
              <a:t>Page set-up:</a:t>
            </a:r>
          </a:p>
          <a:p>
            <a:pPr marL="157500" lvl="1" indent="-157500">
              <a:buClr>
                <a:schemeClr val="accent1"/>
              </a:buClr>
              <a:buSzPct val="100000"/>
              <a:buFont typeface="Arial" panose="020B0604020202020204" pitchFamily="34" charset="0"/>
              <a:buChar char="●"/>
            </a:pPr>
            <a:r>
              <a:rPr lang="en-US" sz="1400" dirty="0">
                <a:solidFill>
                  <a:schemeClr val="tx1"/>
                </a:solidFill>
                <a:latin typeface="+mj-lt"/>
              </a:rPr>
              <a:t>Start by numbering the far-left tab with the total number of projected vacancies you landed on in </a:t>
            </a:r>
            <a:r>
              <a:rPr lang="en-US" sz="1400" b="1" dirty="0">
                <a:solidFill>
                  <a:schemeClr val="tx2"/>
                </a:solidFill>
                <a:latin typeface="+mj-lt"/>
              </a:rPr>
              <a:t>Step 1</a:t>
            </a:r>
            <a:r>
              <a:rPr lang="en-US" sz="1400" dirty="0">
                <a:solidFill>
                  <a:schemeClr val="tx1"/>
                </a:solidFill>
                <a:latin typeface="+mj-lt"/>
              </a:rPr>
              <a:t> </a:t>
            </a:r>
          </a:p>
          <a:p>
            <a:pPr marL="157500" lvl="1" indent="-157500">
              <a:buClr>
                <a:schemeClr val="accent1"/>
              </a:buClr>
              <a:buSzPct val="100000"/>
              <a:buFont typeface="Arial" panose="020B0604020202020204" pitchFamily="34" charset="0"/>
              <a:buChar char="●"/>
            </a:pPr>
            <a:r>
              <a:rPr lang="en-US" sz="1400" dirty="0">
                <a:solidFill>
                  <a:schemeClr val="tx1"/>
                </a:solidFill>
                <a:latin typeface="+mj-lt"/>
              </a:rPr>
              <a:t>In column 2, label each space as elementary, middle, or high based on the number of projected vacancies listed in </a:t>
            </a:r>
            <a:r>
              <a:rPr lang="en-US" sz="1400" b="1" dirty="0">
                <a:solidFill>
                  <a:schemeClr val="tx2"/>
                </a:solidFill>
                <a:latin typeface="+mj-lt"/>
              </a:rPr>
              <a:t>Step 1</a:t>
            </a:r>
            <a:r>
              <a:rPr lang="en-US" sz="1400" dirty="0">
                <a:solidFill>
                  <a:schemeClr val="tx1"/>
                </a:solidFill>
                <a:latin typeface="+mj-lt"/>
              </a:rPr>
              <a:t> (you do not need to stick to this break down perfectly, but it is a good starting place)</a:t>
            </a:r>
          </a:p>
          <a:p>
            <a:r>
              <a:rPr lang="en-US" sz="1400" i="1" dirty="0">
                <a:solidFill>
                  <a:schemeClr val="tx1"/>
                </a:solidFill>
                <a:latin typeface="+mj-lt"/>
              </a:rPr>
              <a:t>Identifying potential vacancies:</a:t>
            </a:r>
          </a:p>
          <a:p>
            <a:pPr marL="157500" lvl="1" indent="-157500">
              <a:buClr>
                <a:schemeClr val="accent1"/>
              </a:buClr>
              <a:buSzPct val="100000"/>
              <a:buFont typeface="Arial" panose="020B0604020202020204" pitchFamily="34" charset="0"/>
              <a:buChar char="●"/>
            </a:pPr>
            <a:r>
              <a:rPr lang="en-US" sz="1400" dirty="0">
                <a:solidFill>
                  <a:schemeClr val="tx1"/>
                </a:solidFill>
                <a:latin typeface="+mj-lt"/>
              </a:rPr>
              <a:t>Start with High Schools (because it is the fewest number of schools). </a:t>
            </a:r>
          </a:p>
        </p:txBody>
      </p:sp>
      <p:pic>
        <p:nvPicPr>
          <p:cNvPr id="3" name="Picture 2">
            <a:extLst>
              <a:ext uri="{FF2B5EF4-FFF2-40B4-BE49-F238E27FC236}">
                <a16:creationId xmlns:a16="http://schemas.microsoft.com/office/drawing/2014/main" id="{0533CF7E-91B6-5E38-9E72-4F41FCE2BD3C}"/>
              </a:ext>
            </a:extLst>
          </p:cNvPr>
          <p:cNvPicPr>
            <a:picLocks noChangeAspect="1"/>
          </p:cNvPicPr>
          <p:nvPr/>
        </p:nvPicPr>
        <p:blipFill>
          <a:blip r:embed="rId5"/>
          <a:stretch>
            <a:fillRect/>
          </a:stretch>
        </p:blipFill>
        <p:spPr>
          <a:xfrm>
            <a:off x="4712691" y="1641006"/>
            <a:ext cx="7123710" cy="2576319"/>
          </a:xfrm>
          <a:prstGeom prst="rect">
            <a:avLst/>
          </a:prstGeom>
          <a:ln>
            <a:solidFill>
              <a:schemeClr val="tx1"/>
            </a:solidFill>
          </a:ln>
          <a:effectLst>
            <a:outerShdw blurRad="292100" dist="139700" dir="2700000" algn="tl" rotWithShape="0">
              <a:srgbClr val="333333">
                <a:alpha val="65000"/>
              </a:srgbClr>
            </a:outerShdw>
          </a:effectLst>
        </p:spPr>
      </p:pic>
      <p:sp>
        <p:nvSpPr>
          <p:cNvPr id="7" name="Rectangle 6">
            <a:extLst>
              <a:ext uri="{FF2B5EF4-FFF2-40B4-BE49-F238E27FC236}">
                <a16:creationId xmlns:a16="http://schemas.microsoft.com/office/drawing/2014/main" id="{DA6939A5-541B-D36E-89B7-2EA1585FB505}"/>
              </a:ext>
            </a:extLst>
          </p:cNvPr>
          <p:cNvSpPr/>
          <p:nvPr/>
        </p:nvSpPr>
        <p:spPr>
          <a:xfrm>
            <a:off x="355598" y="4476307"/>
            <a:ext cx="11526980" cy="174374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157500" lvl="1" indent="-157500">
              <a:buClr>
                <a:schemeClr val="accent1"/>
              </a:buClr>
              <a:buSzPct val="100000"/>
              <a:buFont typeface="Arial" panose="020B0604020202020204" pitchFamily="34" charset="0"/>
              <a:buChar char="●"/>
            </a:pPr>
            <a:r>
              <a:rPr lang="en-US" sz="1400" dirty="0">
                <a:solidFill>
                  <a:schemeClr val="tx1"/>
                </a:solidFill>
                <a:latin typeface="+mj-lt"/>
              </a:rPr>
              <a:t>Have a discussion with your team about the High School(s) most likely to have a vacancy leveraging the three visuals referenced above. If you have 1 projected HS vacancy, then just name 1 school most likely to have a vacancy. If you have 2 projected HS vacancies, then name the 2 high schools most likely to have a vacancy.</a:t>
            </a:r>
          </a:p>
          <a:p>
            <a:pPr marL="157500" lvl="1" indent="-157500">
              <a:buClr>
                <a:schemeClr val="accent1"/>
              </a:buClr>
              <a:buSzPct val="100000"/>
              <a:buFont typeface="Arial" panose="020B0604020202020204" pitchFamily="34" charset="0"/>
              <a:buChar char="●"/>
            </a:pPr>
            <a:r>
              <a:rPr lang="en-US" sz="1400" dirty="0">
                <a:solidFill>
                  <a:schemeClr val="tx1"/>
                </a:solidFill>
                <a:latin typeface="+mj-lt"/>
              </a:rPr>
              <a:t>In this conversation, you can also consider the most common causes of vacancies noted in </a:t>
            </a:r>
            <a:r>
              <a:rPr lang="en-US" sz="1400" b="1" dirty="0">
                <a:solidFill>
                  <a:schemeClr val="tx2"/>
                </a:solidFill>
                <a:latin typeface="+mj-lt"/>
              </a:rPr>
              <a:t>Step 2</a:t>
            </a:r>
            <a:r>
              <a:rPr lang="en-US" sz="1400" dirty="0">
                <a:solidFill>
                  <a:schemeClr val="tx1"/>
                </a:solidFill>
                <a:latin typeface="+mj-lt"/>
              </a:rPr>
              <a:t>. For instance, if internal promotions are your most common cause of vacancy, you might first consider which of your HS principals is interested in and/or seeking a promotion. That could potentially be a high performer listed on the “Current Principal Performance” visual. Also consider if you view one of you HS principals as a potential successor for a Central Office role. </a:t>
            </a:r>
          </a:p>
          <a:p>
            <a:pPr marL="157500" lvl="1" indent="-157500">
              <a:buClr>
                <a:schemeClr val="accent1"/>
              </a:buClr>
              <a:buSzPct val="100000"/>
              <a:buFont typeface="Arial" panose="020B0604020202020204" pitchFamily="34" charset="0"/>
              <a:buChar char="●"/>
            </a:pPr>
            <a:r>
              <a:rPr lang="en-US" sz="1400" dirty="0">
                <a:solidFill>
                  <a:schemeClr val="tx1"/>
                </a:solidFill>
                <a:latin typeface="+mj-lt"/>
              </a:rPr>
              <a:t>At this stage, this should feel more like art than science. That is ok. It is unlikely you have all the data and perspectives you need in the room. Nonetheless this data can be invaluable in thinking about your bench strength in the next stage.</a:t>
            </a:r>
          </a:p>
          <a:p>
            <a:pPr marL="157500" lvl="1" indent="-157500">
              <a:buClr>
                <a:schemeClr val="accent1"/>
              </a:buClr>
              <a:buSzPct val="100000"/>
              <a:buFont typeface="Arial" panose="020B0604020202020204" pitchFamily="34" charset="0"/>
              <a:buChar char="●"/>
            </a:pPr>
            <a:r>
              <a:rPr lang="en-US" sz="1400" dirty="0">
                <a:solidFill>
                  <a:schemeClr val="tx1"/>
                </a:solidFill>
                <a:latin typeface="+mj-lt"/>
              </a:rPr>
              <a:t>After high schools, move to middle and then elementary schools. </a:t>
            </a:r>
          </a:p>
        </p:txBody>
      </p:sp>
    </p:spTree>
    <p:extLst>
      <p:ext uri="{BB962C8B-B14F-4D97-AF65-F5344CB8AC3E}">
        <p14:creationId xmlns:p14="http://schemas.microsoft.com/office/powerpoint/2010/main" val="30876678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632AE1F-0065-6BB7-3BB8-4BE4B2523D47}"/>
              </a:ext>
            </a:extLst>
          </p:cNvPr>
          <p:cNvGraphicFramePr>
            <a:graphicFrameLocks noChangeAspect="1"/>
          </p:cNvGraphicFramePr>
          <p:nvPr>
            <p:custDataLst>
              <p:tags r:id="rId1"/>
            </p:custDataLst>
            <p:extLst>
              <p:ext uri="{D42A27DB-BD31-4B8C-83A1-F6EECF244321}">
                <p14:modId xmlns:p14="http://schemas.microsoft.com/office/powerpoint/2010/main" val="3039305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632AE1F-0065-6BB7-3BB8-4BE4B2523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21274D9-F72A-B9BA-7B37-4AB6B0CE7AC9}"/>
              </a:ext>
            </a:extLst>
          </p:cNvPr>
          <p:cNvSpPr>
            <a:spLocks noGrp="1"/>
          </p:cNvSpPr>
          <p:nvPr>
            <p:ph type="title"/>
          </p:nvPr>
        </p:nvSpPr>
        <p:spPr/>
        <p:txBody>
          <a:bodyPr vert="horz"/>
          <a:lstStyle/>
          <a:p>
            <a:r>
              <a:rPr lang="en-US" dirty="0">
                <a:solidFill>
                  <a:schemeClr val="accent1"/>
                </a:solidFill>
              </a:rPr>
              <a:t>Forecast Vacancies Question 3 (step 2) | </a:t>
            </a:r>
            <a:r>
              <a:rPr lang="en-US" sz="2800" b="1" dirty="0"/>
              <a:t>Where are these vacancies most likely to occur?</a:t>
            </a:r>
            <a:endParaRPr lang="en-US" dirty="0"/>
          </a:p>
        </p:txBody>
      </p:sp>
      <p:sp>
        <p:nvSpPr>
          <p:cNvPr id="14" name="Rectangle 13">
            <a:extLst>
              <a:ext uri="{FF2B5EF4-FFF2-40B4-BE49-F238E27FC236}">
                <a16:creationId xmlns:a16="http://schemas.microsoft.com/office/drawing/2014/main" id="{06AD4ADE-FF88-B428-E53E-1434289D925A}"/>
              </a:ext>
            </a:extLst>
          </p:cNvPr>
          <p:cNvSpPr/>
          <p:nvPr/>
        </p:nvSpPr>
        <p:spPr>
          <a:xfrm>
            <a:off x="355600" y="1228126"/>
            <a:ext cx="9647382" cy="2546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l" fontAlgn="b"/>
            <a:r>
              <a:rPr lang="en-US" b="1" i="0" u="none" strike="noStrike" dirty="0">
                <a:solidFill>
                  <a:srgbClr val="002F6E"/>
                </a:solidFill>
                <a:effectLst/>
                <a:latin typeface="+mj-lt"/>
              </a:rPr>
              <a:t>Step 4: Prioritize potential vacancies based on school needs </a:t>
            </a:r>
          </a:p>
        </p:txBody>
      </p:sp>
      <p:sp>
        <p:nvSpPr>
          <p:cNvPr id="15" name="Rectangle 14">
            <a:extLst>
              <a:ext uri="{FF2B5EF4-FFF2-40B4-BE49-F238E27FC236}">
                <a16:creationId xmlns:a16="http://schemas.microsoft.com/office/drawing/2014/main" id="{268FB826-F0DC-84EC-422D-836D45329610}"/>
              </a:ext>
            </a:extLst>
          </p:cNvPr>
          <p:cNvSpPr/>
          <p:nvPr/>
        </p:nvSpPr>
        <p:spPr>
          <a:xfrm>
            <a:off x="355599" y="4272831"/>
            <a:ext cx="11480802" cy="18394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600" b="1" u="none" strike="noStrike" dirty="0">
                <a:solidFill>
                  <a:schemeClr val="tx1"/>
                </a:solidFill>
                <a:effectLst/>
                <a:latin typeface="+mj-lt"/>
              </a:rPr>
              <a:t>Directions: </a:t>
            </a:r>
          </a:p>
          <a:p>
            <a:pPr marL="180000" lvl="1" indent="-180000">
              <a:buClr>
                <a:schemeClr val="accent1"/>
              </a:buClr>
              <a:buSzPct val="100000"/>
              <a:buFont typeface="Arial" panose="020B0604020202020204" pitchFamily="34" charset="0"/>
              <a:buChar char="●"/>
            </a:pPr>
            <a:r>
              <a:rPr lang="en-US" sz="1600" u="none" strike="noStrike" dirty="0">
                <a:solidFill>
                  <a:schemeClr val="tx1"/>
                </a:solidFill>
                <a:effectLst/>
                <a:latin typeface="+mj-lt"/>
              </a:rPr>
              <a:t>First add notes and criteria to the table above for what might be characterized as a high, medium, or low priority vacancy based on the conversation you’ve just had. There is  a start to this that answers the the question of how hard or easy a position is to fill. </a:t>
            </a:r>
          </a:p>
          <a:p>
            <a:pPr marL="180000" lvl="1" indent="-180000">
              <a:buClr>
                <a:schemeClr val="accent1"/>
              </a:buClr>
              <a:buSzPct val="100000"/>
              <a:buFont typeface="Arial" panose="020B0604020202020204" pitchFamily="34" charset="0"/>
              <a:buChar char="●"/>
            </a:pPr>
            <a:r>
              <a:rPr lang="en-US" sz="1600" u="none" strike="noStrike" dirty="0">
                <a:solidFill>
                  <a:schemeClr val="tx1"/>
                </a:solidFill>
                <a:effectLst/>
                <a:latin typeface="+mj-lt"/>
              </a:rPr>
              <a:t>Next, go through your list of potential principal vacancies and characterize each as “highest priority,” “medium priority,” or “lowest priority” in the column labeled “Priority level” on slide 20. Try to only name 1-3 campuses as “highest priority.”</a:t>
            </a:r>
          </a:p>
          <a:p>
            <a:pPr marL="180000" lvl="1" indent="-180000">
              <a:buClr>
                <a:schemeClr val="accent1"/>
              </a:buClr>
              <a:buSzPct val="100000"/>
              <a:buFont typeface="Arial" panose="020B0604020202020204" pitchFamily="34" charset="0"/>
              <a:buChar char="●"/>
            </a:pPr>
            <a:r>
              <a:rPr lang="en-US" sz="1600" u="none" strike="noStrike" dirty="0">
                <a:solidFill>
                  <a:schemeClr val="tx1"/>
                </a:solidFill>
                <a:effectLst/>
                <a:latin typeface="+mj-lt"/>
              </a:rPr>
              <a:t>Finally, make a few notes about your rationale for the priority level you designated in the final column on slide 20. Focus on naming why the 1-3 highest priority campuses are such high priority. Are there certain skillsets or knowledge an incoming principal needs? Is there an important challenge the new principal will need to solve? </a:t>
            </a:r>
          </a:p>
        </p:txBody>
      </p:sp>
      <p:graphicFrame>
        <p:nvGraphicFramePr>
          <p:cNvPr id="2" name="Table 1">
            <a:extLst>
              <a:ext uri="{FF2B5EF4-FFF2-40B4-BE49-F238E27FC236}">
                <a16:creationId xmlns:a16="http://schemas.microsoft.com/office/drawing/2014/main" id="{3B2D703D-7980-7307-93E5-6900252280E8}"/>
              </a:ext>
            </a:extLst>
          </p:cNvPr>
          <p:cNvGraphicFramePr>
            <a:graphicFrameLocks noGrp="1"/>
          </p:cNvGraphicFramePr>
          <p:nvPr>
            <p:extLst>
              <p:ext uri="{D42A27DB-BD31-4B8C-83A1-F6EECF244321}">
                <p14:modId xmlns:p14="http://schemas.microsoft.com/office/powerpoint/2010/main" val="4123536147"/>
              </p:ext>
            </p:extLst>
          </p:nvPr>
        </p:nvGraphicFramePr>
        <p:xfrm>
          <a:off x="355599" y="1621869"/>
          <a:ext cx="11393379" cy="2586293"/>
        </p:xfrm>
        <a:graphic>
          <a:graphicData uri="http://schemas.openxmlformats.org/drawingml/2006/table">
            <a:tbl>
              <a:tblPr firstRow="1" bandRow="1">
                <a:tableStyleId>{5940675A-B579-460E-94D1-54222C63F5DA}</a:tableStyleId>
              </a:tblPr>
              <a:tblGrid>
                <a:gridCol w="3797793">
                  <a:extLst>
                    <a:ext uri="{9D8B030D-6E8A-4147-A177-3AD203B41FA5}">
                      <a16:colId xmlns:a16="http://schemas.microsoft.com/office/drawing/2014/main" val="2542933313"/>
                    </a:ext>
                  </a:extLst>
                </a:gridCol>
                <a:gridCol w="3797793">
                  <a:extLst>
                    <a:ext uri="{9D8B030D-6E8A-4147-A177-3AD203B41FA5}">
                      <a16:colId xmlns:a16="http://schemas.microsoft.com/office/drawing/2014/main" val="2396927088"/>
                    </a:ext>
                  </a:extLst>
                </a:gridCol>
                <a:gridCol w="3797793">
                  <a:extLst>
                    <a:ext uri="{9D8B030D-6E8A-4147-A177-3AD203B41FA5}">
                      <a16:colId xmlns:a16="http://schemas.microsoft.com/office/drawing/2014/main" val="1740071699"/>
                    </a:ext>
                  </a:extLst>
                </a:gridCol>
              </a:tblGrid>
              <a:tr h="222032">
                <a:tc>
                  <a:txBody>
                    <a:bodyPr/>
                    <a:lstStyle/>
                    <a:p>
                      <a:pPr algn="ctr"/>
                      <a:r>
                        <a:rPr lang="en-US" sz="1200" b="1" dirty="0">
                          <a:solidFill>
                            <a:schemeClr val="bg1"/>
                          </a:solidFill>
                        </a:rPr>
                        <a:t>HIGHEST priority</a:t>
                      </a:r>
                    </a:p>
                  </a:txBody>
                  <a:tcPr>
                    <a:solidFill>
                      <a:srgbClr val="F06123"/>
                    </a:solidFill>
                  </a:tcPr>
                </a:tc>
                <a:tc>
                  <a:txBody>
                    <a:bodyPr/>
                    <a:lstStyle/>
                    <a:p>
                      <a:pPr algn="ctr"/>
                      <a:r>
                        <a:rPr lang="en-US" sz="1200" b="1" dirty="0">
                          <a:solidFill>
                            <a:schemeClr val="bg1"/>
                          </a:solidFill>
                        </a:rPr>
                        <a:t>MEDIUM priority</a:t>
                      </a:r>
                    </a:p>
                  </a:txBody>
                  <a:tcPr>
                    <a:solidFill>
                      <a:srgbClr val="FEA300"/>
                    </a:solidFill>
                  </a:tcPr>
                </a:tc>
                <a:tc>
                  <a:txBody>
                    <a:bodyPr/>
                    <a:lstStyle/>
                    <a:p>
                      <a:pPr algn="ctr"/>
                      <a:r>
                        <a:rPr lang="en-US" sz="1200" b="1" dirty="0">
                          <a:solidFill>
                            <a:schemeClr val="bg1"/>
                          </a:solidFill>
                        </a:rPr>
                        <a:t>LOWEST (relative) priority </a:t>
                      </a:r>
                    </a:p>
                  </a:txBody>
                  <a:tcPr>
                    <a:solidFill>
                      <a:srgbClr val="4D9233"/>
                    </a:solidFill>
                  </a:tcPr>
                </a:tc>
                <a:extLst>
                  <a:ext uri="{0D108BD9-81ED-4DB2-BD59-A6C34878D82A}">
                    <a16:rowId xmlns:a16="http://schemas.microsoft.com/office/drawing/2014/main" val="424321727"/>
                  </a:ext>
                </a:extLst>
              </a:tr>
              <a:tr h="2311973">
                <a:tc>
                  <a:txBody>
                    <a:bodyPr/>
                    <a:lstStyle/>
                    <a:p>
                      <a:pPr marL="285750" indent="-285750">
                        <a:buFont typeface="Arial" panose="020B0604020202020204" pitchFamily="34" charset="0"/>
                        <a:buChar char="•"/>
                      </a:pPr>
                      <a:r>
                        <a:rPr lang="en-US" sz="1200" dirty="0"/>
                        <a:t>Schools where only a small # of candidates could be successful</a:t>
                      </a:r>
                    </a:p>
                    <a:p>
                      <a:endParaRPr lang="en-US" dirty="0"/>
                    </a:p>
                  </a:txBody>
                  <a:tcPr/>
                </a:tc>
                <a:tc>
                  <a:txBody>
                    <a:bodyPr/>
                    <a:lstStyle/>
                    <a:p>
                      <a:pPr marL="285750" marR="0" lvl="0" indent="-2857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chools where some candidates could be successful</a:t>
                      </a:r>
                    </a:p>
                    <a:p>
                      <a:pPr marL="285750" indent="-285750">
                        <a:buFont typeface="Arial" panose="020B0604020202020204" pitchFamily="34" charset="0"/>
                        <a:buChar char="•"/>
                      </a:pPr>
                      <a:endParaRPr lang="en-US" dirty="0"/>
                    </a:p>
                  </a:txBody>
                  <a:tcPr/>
                </a:tc>
                <a:tc>
                  <a:txBody>
                    <a:bodyPr/>
                    <a:lstStyle/>
                    <a:p>
                      <a:pPr marL="285750" marR="0" lvl="0" indent="-2857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chools where many candidates could be successful </a:t>
                      </a:r>
                    </a:p>
                    <a:p>
                      <a:pPr marL="285750" marR="0" lvl="0" indent="-2857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Probably a good place for AP being elevated to principal </a:t>
                      </a:r>
                    </a:p>
                    <a:p>
                      <a:endParaRPr lang="en-US" dirty="0"/>
                    </a:p>
                  </a:txBody>
                  <a:tcPr/>
                </a:tc>
                <a:extLst>
                  <a:ext uri="{0D108BD9-81ED-4DB2-BD59-A6C34878D82A}">
                    <a16:rowId xmlns:a16="http://schemas.microsoft.com/office/drawing/2014/main" val="3400671953"/>
                  </a:ext>
                </a:extLst>
              </a:tr>
            </a:tbl>
          </a:graphicData>
        </a:graphic>
      </p:graphicFrame>
    </p:spTree>
    <p:extLst>
      <p:ext uri="{BB962C8B-B14F-4D97-AF65-F5344CB8AC3E}">
        <p14:creationId xmlns:p14="http://schemas.microsoft.com/office/powerpoint/2010/main" val="25706487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D29D540-5585-A4E6-D7ED-526197D52663}"/>
              </a:ext>
            </a:extLst>
          </p:cNvPr>
          <p:cNvGraphicFramePr>
            <a:graphicFrameLocks noChangeAspect="1"/>
          </p:cNvGraphicFramePr>
          <p:nvPr>
            <p:custDataLst>
              <p:tags r:id="rId1"/>
            </p:custDataLst>
            <p:extLst>
              <p:ext uri="{D42A27DB-BD31-4B8C-83A1-F6EECF244321}">
                <p14:modId xmlns:p14="http://schemas.microsoft.com/office/powerpoint/2010/main" val="3439157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think-cell data - do not delete" hidden="1">
                        <a:extLst>
                          <a:ext uri="{FF2B5EF4-FFF2-40B4-BE49-F238E27FC236}">
                            <a16:creationId xmlns:a16="http://schemas.microsoft.com/office/drawing/2014/main" id="{BD29D540-5585-A4E6-D7ED-526197D526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61B614BB-1993-4EF4-A508-3478329754A7}"/>
              </a:ext>
            </a:extLst>
          </p:cNvPr>
          <p:cNvSpPr>
            <a:spLocks noGrp="1"/>
          </p:cNvSpPr>
          <p:nvPr>
            <p:ph type="body" sz="quarter" idx="11"/>
          </p:nvPr>
        </p:nvSpPr>
        <p:spPr>
          <a:xfrm>
            <a:off x="355599" y="1147762"/>
            <a:ext cx="11125198" cy="5157788"/>
          </a:xfrm>
        </p:spPr>
        <p:txBody>
          <a:bodyPr>
            <a:normAutofit fontScale="92500" lnSpcReduction="10000"/>
          </a:bodyPr>
          <a:lstStyle/>
          <a:p>
            <a:r>
              <a:rPr lang="en-US" sz="1400" dirty="0"/>
              <a:t>If you are reading this you have already encountered the Leadership Portal, a tool developed through a partnership between the Michael and Susan Dell Foundation and the Holdsworth Center. This open-source software builds on the </a:t>
            </a:r>
            <a:r>
              <a:rPr lang="en-US" sz="1400" dirty="0" err="1"/>
              <a:t>EdFi</a:t>
            </a:r>
            <a:r>
              <a:rPr lang="en-US" sz="1400" dirty="0"/>
              <a:t> Educator Preparation Data Model and is designed to help public school districts better track their leadership talent and plan ahead for potential future vacancies in campus leadership. The tool was created between 2021 and 2024 through the employ of programming talent from Developers.net.</a:t>
            </a:r>
          </a:p>
          <a:p>
            <a:endParaRPr lang="en-US" sz="1400" dirty="0"/>
          </a:p>
          <a:p>
            <a:r>
              <a:rPr lang="en-US" sz="1400" dirty="0"/>
              <a:t>At the Holdsworth Center we believe that investing in leadership is key to the success of public schools and the districts that support them. A strong leader enables instructional strategies to thrive in a systemic way that addresses student need. Leaders do this in many ways, including cultivating a shared vision for excellence and equity, developing and retaining great teachers and building a culture of continuous improvement and successful change management. Districts can and must teach and develop this type of leadership through thoughtful long-term strategies and robust talent management systems (processes and tools)</a:t>
            </a:r>
          </a:p>
          <a:p>
            <a:endParaRPr lang="en-US" sz="1400" dirty="0"/>
          </a:p>
          <a:p>
            <a:r>
              <a:rPr lang="en-US" sz="1400" dirty="0"/>
              <a:t>One such system that districts can (and we believe should) employ is what we term the Vacancy Planning Cycle, a set of activities in which district leadership forecasts future campus leadership vacancies, assesses the state of the current bench to fill those vacancies, and intentionally invests in leaders in the pipeline to move them towards readiness for their next role. This is common practice in many industries and is done with some regularity in the education sector when it comes to teachers. When it comes to leaders, however, not only is the practice and process often missing but the data required to do it well is often not available, much less easily accessible. The Leadership Portal is a tool meant to help close this gap.</a:t>
            </a:r>
          </a:p>
          <a:p>
            <a:endParaRPr lang="en-US" sz="1400" dirty="0"/>
          </a:p>
          <a:p>
            <a:r>
              <a:rPr lang="en-US" sz="1400" dirty="0"/>
              <a:t>The slides that follow are a starter kit to support you in leveraging the tool toward this intended aim. Vacancy Planning is a space where the candor and rigor of discussion matter immensely, with structured processes and conversations that employ data well. We hope the prompts and processes outlined here will help you to design such a process for your own system.  Data will not give us the answer to as complex a human problem as leadership, but it will support large and small systems in making decisions that are equitable both to the adults involved as well as the students they serve. We hope you’ll leverage your data to this end using the Leadership Portal and let us know what you learn.</a:t>
            </a:r>
          </a:p>
          <a:p>
            <a:endParaRPr lang="en-US" sz="1400" dirty="0"/>
          </a:p>
          <a:p>
            <a:pPr algn="r"/>
            <a:r>
              <a:rPr lang="en-US" sz="1400" dirty="0"/>
              <a:t>The Holdsworth Center </a:t>
            </a:r>
          </a:p>
          <a:p>
            <a:pPr algn="r"/>
            <a:r>
              <a:rPr lang="en-US" sz="1400" dirty="0"/>
              <a:t>District Support Team</a:t>
            </a:r>
          </a:p>
        </p:txBody>
      </p:sp>
      <p:sp>
        <p:nvSpPr>
          <p:cNvPr id="6" name="Title 5">
            <a:extLst>
              <a:ext uri="{FF2B5EF4-FFF2-40B4-BE49-F238E27FC236}">
                <a16:creationId xmlns:a16="http://schemas.microsoft.com/office/drawing/2014/main" id="{3C5B9640-476F-4444-9B1C-D716483E77AB}"/>
              </a:ext>
            </a:extLst>
          </p:cNvPr>
          <p:cNvSpPr>
            <a:spLocks noGrp="1"/>
          </p:cNvSpPr>
          <p:nvPr>
            <p:ph type="title"/>
          </p:nvPr>
        </p:nvSpPr>
        <p:spPr/>
        <p:txBody>
          <a:bodyPr vert="horz"/>
          <a:lstStyle/>
          <a:p>
            <a:r>
              <a:rPr lang="en-US" dirty="0"/>
              <a:t>Welcome!</a:t>
            </a:r>
          </a:p>
        </p:txBody>
      </p:sp>
      <p:sp>
        <p:nvSpPr>
          <p:cNvPr id="8" name="Text Placeholder 7">
            <a:extLst>
              <a:ext uri="{FF2B5EF4-FFF2-40B4-BE49-F238E27FC236}">
                <a16:creationId xmlns:a16="http://schemas.microsoft.com/office/drawing/2014/main" id="{3C861806-DD4E-052B-AA73-2BF0B94FDEDA}"/>
              </a:ext>
            </a:extLst>
          </p:cNvPr>
          <p:cNvSpPr>
            <a:spLocks noGrp="1"/>
          </p:cNvSpPr>
          <p:nvPr>
            <p:ph type="body" sz="quarter" idx="17"/>
          </p:nvPr>
        </p:nvSpPr>
        <p:spPr/>
        <p:txBody>
          <a:bodyPr/>
          <a:lstStyle/>
          <a:p>
            <a:r>
              <a:rPr lang="en-US" dirty="0"/>
              <a:t>An introduction to this guide</a:t>
            </a:r>
          </a:p>
        </p:txBody>
      </p:sp>
    </p:spTree>
    <p:extLst>
      <p:ext uri="{BB962C8B-B14F-4D97-AF65-F5344CB8AC3E}">
        <p14:creationId xmlns:p14="http://schemas.microsoft.com/office/powerpoint/2010/main" val="3394525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632AE1F-0065-6BB7-3BB8-4BE4B2523D47}"/>
              </a:ext>
            </a:extLst>
          </p:cNvPr>
          <p:cNvGraphicFramePr>
            <a:graphicFrameLocks noChangeAspect="1"/>
          </p:cNvGraphicFramePr>
          <p:nvPr>
            <p:custDataLst>
              <p:tags r:id="rId1"/>
            </p:custDataLst>
            <p:extLst>
              <p:ext uri="{D42A27DB-BD31-4B8C-83A1-F6EECF244321}">
                <p14:modId xmlns:p14="http://schemas.microsoft.com/office/powerpoint/2010/main" val="1803060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632AE1F-0065-6BB7-3BB8-4BE4B2523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21274D9-F72A-B9BA-7B37-4AB6B0CE7AC9}"/>
              </a:ext>
            </a:extLst>
          </p:cNvPr>
          <p:cNvSpPr>
            <a:spLocks noGrp="1"/>
          </p:cNvSpPr>
          <p:nvPr>
            <p:ph type="title"/>
          </p:nvPr>
        </p:nvSpPr>
        <p:spPr/>
        <p:txBody>
          <a:bodyPr vert="horz"/>
          <a:lstStyle/>
          <a:p>
            <a:r>
              <a:rPr lang="en-US" dirty="0">
                <a:solidFill>
                  <a:schemeClr val="accent1"/>
                </a:solidFill>
              </a:rPr>
              <a:t>Forecast Vacancies Question 3 | </a:t>
            </a:r>
            <a:r>
              <a:rPr lang="en-US" sz="2800" b="1" dirty="0"/>
              <a:t>Where are these vacancies most likely to occur?</a:t>
            </a:r>
            <a:endParaRPr lang="en-US" dirty="0"/>
          </a:p>
        </p:txBody>
      </p:sp>
      <p:sp>
        <p:nvSpPr>
          <p:cNvPr id="14" name="Rectangle 13">
            <a:extLst>
              <a:ext uri="{FF2B5EF4-FFF2-40B4-BE49-F238E27FC236}">
                <a16:creationId xmlns:a16="http://schemas.microsoft.com/office/drawing/2014/main" id="{06AD4ADE-FF88-B428-E53E-1434289D925A}"/>
              </a:ext>
            </a:extLst>
          </p:cNvPr>
          <p:cNvSpPr/>
          <p:nvPr/>
        </p:nvSpPr>
        <p:spPr>
          <a:xfrm>
            <a:off x="355600" y="1235563"/>
            <a:ext cx="9647382" cy="2546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l" fontAlgn="b"/>
            <a:r>
              <a:rPr lang="en-US" i="1" dirty="0">
                <a:solidFill>
                  <a:srgbClr val="002F6E"/>
                </a:solidFill>
                <a:latin typeface="+mj-lt"/>
              </a:rPr>
              <a:t>Template w</a:t>
            </a:r>
            <a:r>
              <a:rPr lang="en-US" i="1" u="none" strike="noStrike" dirty="0">
                <a:solidFill>
                  <a:srgbClr val="002F6E"/>
                </a:solidFill>
                <a:effectLst/>
                <a:latin typeface="+mj-lt"/>
              </a:rPr>
              <a:t>orksheet</a:t>
            </a:r>
            <a:endParaRPr lang="en-US" b="1" i="0" u="none" strike="noStrike" dirty="0">
              <a:solidFill>
                <a:srgbClr val="002F6E"/>
              </a:solidFill>
              <a:effectLst/>
              <a:latin typeface="+mj-lt"/>
            </a:endParaRPr>
          </a:p>
        </p:txBody>
      </p:sp>
      <p:graphicFrame>
        <p:nvGraphicFramePr>
          <p:cNvPr id="2" name="Table 1">
            <a:extLst>
              <a:ext uri="{FF2B5EF4-FFF2-40B4-BE49-F238E27FC236}">
                <a16:creationId xmlns:a16="http://schemas.microsoft.com/office/drawing/2014/main" id="{1F4A7EED-09FD-4563-0519-12DC6EC6B9DE}"/>
              </a:ext>
            </a:extLst>
          </p:cNvPr>
          <p:cNvGraphicFramePr>
            <a:graphicFrameLocks noGrp="1"/>
          </p:cNvGraphicFramePr>
          <p:nvPr>
            <p:extLst>
              <p:ext uri="{D42A27DB-BD31-4B8C-83A1-F6EECF244321}">
                <p14:modId xmlns:p14="http://schemas.microsoft.com/office/powerpoint/2010/main" val="3922861324"/>
              </p:ext>
            </p:extLst>
          </p:nvPr>
        </p:nvGraphicFramePr>
        <p:xfrm>
          <a:off x="336586" y="1775638"/>
          <a:ext cx="11678208" cy="4299740"/>
        </p:xfrm>
        <a:graphic>
          <a:graphicData uri="http://schemas.openxmlformats.org/drawingml/2006/table">
            <a:tbl>
              <a:tblPr firstRow="1" bandRow="1">
                <a:tableStyleId>{5940675A-B579-460E-94D1-54222C63F5DA}</a:tableStyleId>
              </a:tblPr>
              <a:tblGrid>
                <a:gridCol w="370250">
                  <a:extLst>
                    <a:ext uri="{9D8B030D-6E8A-4147-A177-3AD203B41FA5}">
                      <a16:colId xmlns:a16="http://schemas.microsoft.com/office/drawing/2014/main" val="1649520510"/>
                    </a:ext>
                  </a:extLst>
                </a:gridCol>
                <a:gridCol w="704565">
                  <a:extLst>
                    <a:ext uri="{9D8B030D-6E8A-4147-A177-3AD203B41FA5}">
                      <a16:colId xmlns:a16="http://schemas.microsoft.com/office/drawing/2014/main" val="3019218805"/>
                    </a:ext>
                  </a:extLst>
                </a:gridCol>
                <a:gridCol w="2490474">
                  <a:extLst>
                    <a:ext uri="{9D8B030D-6E8A-4147-A177-3AD203B41FA5}">
                      <a16:colId xmlns:a16="http://schemas.microsoft.com/office/drawing/2014/main" val="2906589519"/>
                    </a:ext>
                  </a:extLst>
                </a:gridCol>
                <a:gridCol w="2490474">
                  <a:extLst>
                    <a:ext uri="{9D8B030D-6E8A-4147-A177-3AD203B41FA5}">
                      <a16:colId xmlns:a16="http://schemas.microsoft.com/office/drawing/2014/main" val="260227560"/>
                    </a:ext>
                  </a:extLst>
                </a:gridCol>
                <a:gridCol w="2490474">
                  <a:extLst>
                    <a:ext uri="{9D8B030D-6E8A-4147-A177-3AD203B41FA5}">
                      <a16:colId xmlns:a16="http://schemas.microsoft.com/office/drawing/2014/main" val="4051649885"/>
                    </a:ext>
                  </a:extLst>
                </a:gridCol>
                <a:gridCol w="886209">
                  <a:extLst>
                    <a:ext uri="{9D8B030D-6E8A-4147-A177-3AD203B41FA5}">
                      <a16:colId xmlns:a16="http://schemas.microsoft.com/office/drawing/2014/main" val="1707429882"/>
                    </a:ext>
                  </a:extLst>
                </a:gridCol>
                <a:gridCol w="2245762">
                  <a:extLst>
                    <a:ext uri="{9D8B030D-6E8A-4147-A177-3AD203B41FA5}">
                      <a16:colId xmlns:a16="http://schemas.microsoft.com/office/drawing/2014/main" val="2632668247"/>
                    </a:ext>
                  </a:extLst>
                </a:gridCol>
              </a:tblGrid>
              <a:tr h="591605">
                <a:tc>
                  <a:txBody>
                    <a:bodyPr/>
                    <a:lstStyle/>
                    <a:p>
                      <a:pPr algn="ctr"/>
                      <a:r>
                        <a:rPr lang="en-US" sz="1300" b="1"/>
                        <a:t>#</a:t>
                      </a:r>
                    </a:p>
                  </a:txBody>
                  <a:tcPr marL="70919" marR="70919" marT="35460" marB="35460" anchor="ctr">
                    <a:solidFill>
                      <a:schemeClr val="bg1">
                        <a:lumMod val="85000"/>
                      </a:schemeClr>
                    </a:solidFill>
                  </a:tcPr>
                </a:tc>
                <a:tc>
                  <a:txBody>
                    <a:bodyPr/>
                    <a:lstStyle/>
                    <a:p>
                      <a:pPr algn="ctr"/>
                      <a:r>
                        <a:rPr lang="en-US" sz="1300" b="1"/>
                        <a:t>School Level </a:t>
                      </a:r>
                    </a:p>
                  </a:txBody>
                  <a:tcPr marL="70919" marR="70919" marT="35460" marB="35460" anchor="ctr">
                    <a:solidFill>
                      <a:schemeClr val="bg1">
                        <a:lumMod val="85000"/>
                      </a:schemeClr>
                    </a:solidFill>
                  </a:tcPr>
                </a:tc>
                <a:tc>
                  <a:txBody>
                    <a:bodyPr/>
                    <a:lstStyle/>
                    <a:p>
                      <a:pPr algn="ctr"/>
                      <a:r>
                        <a:rPr lang="en-US" sz="1300" b="1"/>
                        <a:t>School Name </a:t>
                      </a:r>
                    </a:p>
                  </a:txBody>
                  <a:tcPr marL="70919" marR="70919" marT="35460" marB="35460" anchor="ctr">
                    <a:solidFill>
                      <a:schemeClr val="bg1">
                        <a:lumMod val="85000"/>
                      </a:schemeClr>
                    </a:solidFill>
                  </a:tcPr>
                </a:tc>
                <a:tc>
                  <a:txBody>
                    <a:bodyPr/>
                    <a:lstStyle/>
                    <a:p>
                      <a:pPr algn="ctr"/>
                      <a:r>
                        <a:rPr lang="en-US" sz="1300" b="1" dirty="0"/>
                        <a:t>Principal Name</a:t>
                      </a:r>
                    </a:p>
                  </a:txBody>
                  <a:tcPr marL="70919" marR="70919" marT="35460" marB="35460" anchor="ctr">
                    <a:solidFill>
                      <a:schemeClr val="bg1">
                        <a:lumMod val="85000"/>
                      </a:schemeClr>
                    </a:solidFill>
                  </a:tcPr>
                </a:tc>
                <a:tc>
                  <a:txBody>
                    <a:bodyPr/>
                    <a:lstStyle/>
                    <a:p>
                      <a:pPr algn="ctr"/>
                      <a:r>
                        <a:rPr lang="en-US" sz="1300" b="1"/>
                        <a:t>Potential reason this principal may vacate their role</a:t>
                      </a:r>
                    </a:p>
                  </a:txBody>
                  <a:tcPr marL="70919" marR="70919" marT="35460" marB="35460" anchor="ctr">
                    <a:solidFill>
                      <a:schemeClr val="bg1">
                        <a:lumMod val="85000"/>
                      </a:schemeClr>
                    </a:solidFill>
                  </a:tcPr>
                </a:tc>
                <a:tc>
                  <a:txBody>
                    <a:bodyPr/>
                    <a:lstStyle/>
                    <a:p>
                      <a:pPr algn="ctr"/>
                      <a:r>
                        <a:rPr lang="en-US" sz="1300" b="1"/>
                        <a:t>Priority Level</a:t>
                      </a:r>
                    </a:p>
                  </a:txBody>
                  <a:tcPr marL="70919" marR="70919" marT="35460" marB="35460" anchor="ctr">
                    <a:solidFill>
                      <a:schemeClr val="bg1">
                        <a:lumMod val="85000"/>
                      </a:schemeClr>
                    </a:solidFill>
                  </a:tcPr>
                </a:tc>
                <a:tc>
                  <a:txBody>
                    <a:bodyPr/>
                    <a:lstStyle/>
                    <a:p>
                      <a:pPr algn="ctr"/>
                      <a:r>
                        <a:rPr lang="en-US" sz="1300" b="1" dirty="0"/>
                        <a:t>Rationale for priority</a:t>
                      </a:r>
                    </a:p>
                  </a:txBody>
                  <a:tcPr marL="70919" marR="70919" marT="35460" marB="35460" anchor="ctr">
                    <a:solidFill>
                      <a:schemeClr val="bg1">
                        <a:lumMod val="85000"/>
                      </a:schemeClr>
                    </a:solidFill>
                  </a:tcPr>
                </a:tc>
                <a:extLst>
                  <a:ext uri="{0D108BD9-81ED-4DB2-BD59-A6C34878D82A}">
                    <a16:rowId xmlns:a16="http://schemas.microsoft.com/office/drawing/2014/main" val="3171363157"/>
                  </a:ext>
                </a:extLst>
              </a:tr>
              <a:tr h="378834">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extLst>
                  <a:ext uri="{0D108BD9-81ED-4DB2-BD59-A6C34878D82A}">
                    <a16:rowId xmlns:a16="http://schemas.microsoft.com/office/drawing/2014/main" val="4187856437"/>
                  </a:ext>
                </a:extLst>
              </a:tr>
              <a:tr h="378834">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extLst>
                  <a:ext uri="{0D108BD9-81ED-4DB2-BD59-A6C34878D82A}">
                    <a16:rowId xmlns:a16="http://schemas.microsoft.com/office/drawing/2014/main" val="3553632232"/>
                  </a:ext>
                </a:extLst>
              </a:tr>
              <a:tr h="378834">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extLst>
                  <a:ext uri="{0D108BD9-81ED-4DB2-BD59-A6C34878D82A}">
                    <a16:rowId xmlns:a16="http://schemas.microsoft.com/office/drawing/2014/main" val="2412053611"/>
                  </a:ext>
                </a:extLst>
              </a:tr>
              <a:tr h="378834">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extLst>
                  <a:ext uri="{0D108BD9-81ED-4DB2-BD59-A6C34878D82A}">
                    <a16:rowId xmlns:a16="http://schemas.microsoft.com/office/drawing/2014/main" val="1152959238"/>
                  </a:ext>
                </a:extLst>
              </a:tr>
              <a:tr h="378834">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extLst>
                  <a:ext uri="{0D108BD9-81ED-4DB2-BD59-A6C34878D82A}">
                    <a16:rowId xmlns:a16="http://schemas.microsoft.com/office/drawing/2014/main" val="3015789280"/>
                  </a:ext>
                </a:extLst>
              </a:tr>
              <a:tr h="362793">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extLst>
                  <a:ext uri="{0D108BD9-81ED-4DB2-BD59-A6C34878D82A}">
                    <a16:rowId xmlns:a16="http://schemas.microsoft.com/office/drawing/2014/main" val="2660554112"/>
                  </a:ext>
                </a:extLst>
              </a:tr>
              <a:tr h="362793">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extLst>
                  <a:ext uri="{0D108BD9-81ED-4DB2-BD59-A6C34878D82A}">
                    <a16:rowId xmlns:a16="http://schemas.microsoft.com/office/drawing/2014/main" val="1389529968"/>
                  </a:ext>
                </a:extLst>
              </a:tr>
              <a:tr h="362793">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extLst>
                  <a:ext uri="{0D108BD9-81ED-4DB2-BD59-A6C34878D82A}">
                    <a16:rowId xmlns:a16="http://schemas.microsoft.com/office/drawing/2014/main" val="2575885812"/>
                  </a:ext>
                </a:extLst>
              </a:tr>
              <a:tr h="362793">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extLst>
                  <a:ext uri="{0D108BD9-81ED-4DB2-BD59-A6C34878D82A}">
                    <a16:rowId xmlns:a16="http://schemas.microsoft.com/office/drawing/2014/main" val="2648188380"/>
                  </a:ext>
                </a:extLst>
              </a:tr>
              <a:tr h="362793">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extLst>
                  <a:ext uri="{0D108BD9-81ED-4DB2-BD59-A6C34878D82A}">
                    <a16:rowId xmlns:a16="http://schemas.microsoft.com/office/drawing/2014/main" val="458536063"/>
                  </a:ext>
                </a:extLst>
              </a:tr>
            </a:tbl>
          </a:graphicData>
        </a:graphic>
      </p:graphicFrame>
    </p:spTree>
    <p:extLst>
      <p:ext uri="{BB962C8B-B14F-4D97-AF65-F5344CB8AC3E}">
        <p14:creationId xmlns:p14="http://schemas.microsoft.com/office/powerpoint/2010/main" val="25108729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18EB5E-C9F5-7518-F5E8-7BF13D3D5333}"/>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816AC69A-6F53-7AD7-0B93-F85479E3EB2D}"/>
              </a:ext>
            </a:extLst>
          </p:cNvPr>
          <p:cNvSpPr>
            <a:spLocks noGrp="1"/>
          </p:cNvSpPr>
          <p:nvPr>
            <p:ph type="body" sz="quarter" idx="11"/>
          </p:nvPr>
        </p:nvSpPr>
        <p:spPr>
          <a:xfrm>
            <a:off x="711200" y="1447801"/>
            <a:ext cx="8337550" cy="3046988"/>
          </a:xfrm>
        </p:spPr>
        <p:txBody>
          <a:bodyPr/>
          <a:lstStyle/>
          <a:p>
            <a:r>
              <a:rPr lang="en-US" dirty="0"/>
              <a:t>Identifying future leaders &amp; Understanding your bench</a:t>
            </a:r>
          </a:p>
        </p:txBody>
      </p:sp>
      <p:sp>
        <p:nvSpPr>
          <p:cNvPr id="4" name="Content Placeholder 3">
            <a:extLst>
              <a:ext uri="{FF2B5EF4-FFF2-40B4-BE49-F238E27FC236}">
                <a16:creationId xmlns:a16="http://schemas.microsoft.com/office/drawing/2014/main" id="{1649EA9E-16F8-6168-11BC-99C84F29DCC3}"/>
              </a:ext>
            </a:extLst>
          </p:cNvPr>
          <p:cNvSpPr>
            <a:spLocks noGrp="1"/>
          </p:cNvSpPr>
          <p:nvPr>
            <p:ph sz="quarter" idx="13"/>
          </p:nvPr>
        </p:nvSpPr>
        <p:spPr/>
        <p:txBody>
          <a:bodyPr/>
          <a:lstStyle/>
          <a:p>
            <a:r>
              <a:rPr lang="en-US" dirty="0"/>
              <a:t>3</a:t>
            </a:r>
          </a:p>
        </p:txBody>
      </p:sp>
      <p:grpSp>
        <p:nvGrpSpPr>
          <p:cNvPr id="13" name="Group 12">
            <a:extLst>
              <a:ext uri="{FF2B5EF4-FFF2-40B4-BE49-F238E27FC236}">
                <a16:creationId xmlns:a16="http://schemas.microsoft.com/office/drawing/2014/main" id="{78943463-0594-BE3E-23B6-23EDB980FC98}"/>
              </a:ext>
            </a:extLst>
          </p:cNvPr>
          <p:cNvGrpSpPr/>
          <p:nvPr/>
        </p:nvGrpSpPr>
        <p:grpSpPr>
          <a:xfrm>
            <a:off x="2185062" y="2861857"/>
            <a:ext cx="2971289" cy="2912922"/>
            <a:chOff x="541641" y="571912"/>
            <a:chExt cx="5698201" cy="5586266"/>
          </a:xfrm>
        </p:grpSpPr>
        <p:sp>
          <p:nvSpPr>
            <p:cNvPr id="14" name="Freeform 3">
              <a:extLst>
                <a:ext uri="{FF2B5EF4-FFF2-40B4-BE49-F238E27FC236}">
                  <a16:creationId xmlns:a16="http://schemas.microsoft.com/office/drawing/2014/main" id="{B1BEC6AB-4451-FD7F-3985-345E688281B4}"/>
                </a:ext>
              </a:extLst>
            </p:cNvPr>
            <p:cNvSpPr>
              <a:spLocks/>
            </p:cNvSpPr>
            <p:nvPr>
              <p:custDataLst>
                <p:tags r:id="rId1"/>
              </p:custDataLst>
            </p:nvPr>
          </p:nvSpPr>
          <p:spPr bwMode="auto">
            <a:xfrm rot="2315660">
              <a:off x="1295060" y="571912"/>
              <a:ext cx="2062496" cy="4156911"/>
            </a:xfrm>
            <a:custGeom>
              <a:avLst/>
              <a:gdLst>
                <a:gd name="T0" fmla="*/ 390 w 534"/>
                <a:gd name="T1" fmla="*/ 860 h 1099"/>
                <a:gd name="T2" fmla="*/ 375 w 534"/>
                <a:gd name="T3" fmla="*/ 840 h 1099"/>
                <a:gd name="T4" fmla="*/ 361 w 534"/>
                <a:gd name="T5" fmla="*/ 819 h 1099"/>
                <a:gd name="T6" fmla="*/ 349 w 534"/>
                <a:gd name="T7" fmla="*/ 797 h 1099"/>
                <a:gd name="T8" fmla="*/ 340 w 534"/>
                <a:gd name="T9" fmla="*/ 774 h 1099"/>
                <a:gd name="T10" fmla="*/ 332 w 534"/>
                <a:gd name="T11" fmla="*/ 751 h 1099"/>
                <a:gd name="T12" fmla="*/ 326 w 534"/>
                <a:gd name="T13" fmla="*/ 727 h 1099"/>
                <a:gd name="T14" fmla="*/ 321 w 534"/>
                <a:gd name="T15" fmla="*/ 702 h 1099"/>
                <a:gd name="T16" fmla="*/ 319 w 534"/>
                <a:gd name="T17" fmla="*/ 678 h 1099"/>
                <a:gd name="T18" fmla="*/ 319 w 534"/>
                <a:gd name="T19" fmla="*/ 653 h 1099"/>
                <a:gd name="T20" fmla="*/ 320 w 534"/>
                <a:gd name="T21" fmla="*/ 628 h 1099"/>
                <a:gd name="T22" fmla="*/ 324 w 534"/>
                <a:gd name="T23" fmla="*/ 603 h 1099"/>
                <a:gd name="T24" fmla="*/ 330 w 534"/>
                <a:gd name="T25" fmla="*/ 579 h 1099"/>
                <a:gd name="T26" fmla="*/ 337 w 534"/>
                <a:gd name="T27" fmla="*/ 554 h 1099"/>
                <a:gd name="T28" fmla="*/ 347 w 534"/>
                <a:gd name="T29" fmla="*/ 530 h 1099"/>
                <a:gd name="T30" fmla="*/ 359 w 534"/>
                <a:gd name="T31" fmla="*/ 507 h 1099"/>
                <a:gd name="T32" fmla="*/ 371 w 534"/>
                <a:gd name="T33" fmla="*/ 488 h 1099"/>
                <a:gd name="T34" fmla="*/ 383 w 534"/>
                <a:gd name="T35" fmla="*/ 472 h 1099"/>
                <a:gd name="T36" fmla="*/ 395 w 534"/>
                <a:gd name="T37" fmla="*/ 457 h 1099"/>
                <a:gd name="T38" fmla="*/ 408 w 534"/>
                <a:gd name="T39" fmla="*/ 443 h 1099"/>
                <a:gd name="T40" fmla="*/ 421 w 534"/>
                <a:gd name="T41" fmla="*/ 430 h 1099"/>
                <a:gd name="T42" fmla="*/ 435 w 534"/>
                <a:gd name="T43" fmla="*/ 418 h 1099"/>
                <a:gd name="T44" fmla="*/ 450 w 534"/>
                <a:gd name="T45" fmla="*/ 406 h 1099"/>
                <a:gd name="T46" fmla="*/ 465 w 534"/>
                <a:gd name="T47" fmla="*/ 396 h 1099"/>
                <a:gd name="T48" fmla="*/ 504 w 534"/>
                <a:gd name="T49" fmla="*/ 454 h 1099"/>
                <a:gd name="T50" fmla="*/ 329 w 534"/>
                <a:gd name="T51" fmla="*/ 0 h 1099"/>
                <a:gd name="T52" fmla="*/ 344 w 534"/>
                <a:gd name="T53" fmla="*/ 89 h 1099"/>
                <a:gd name="T54" fmla="*/ 305 w 534"/>
                <a:gd name="T55" fmla="*/ 111 h 1099"/>
                <a:gd name="T56" fmla="*/ 267 w 534"/>
                <a:gd name="T57" fmla="*/ 136 h 1099"/>
                <a:gd name="T58" fmla="*/ 231 w 534"/>
                <a:gd name="T59" fmla="*/ 164 h 1099"/>
                <a:gd name="T60" fmla="*/ 197 w 534"/>
                <a:gd name="T61" fmla="*/ 196 h 1099"/>
                <a:gd name="T62" fmla="*/ 165 w 534"/>
                <a:gd name="T63" fmla="*/ 229 h 1099"/>
                <a:gd name="T64" fmla="*/ 134 w 534"/>
                <a:gd name="T65" fmla="*/ 265 h 1099"/>
                <a:gd name="T66" fmla="*/ 107 w 534"/>
                <a:gd name="T67" fmla="*/ 303 h 1099"/>
                <a:gd name="T68" fmla="*/ 80 w 534"/>
                <a:gd name="T69" fmla="*/ 347 h 1099"/>
                <a:gd name="T70" fmla="*/ 55 w 534"/>
                <a:gd name="T71" fmla="*/ 395 h 1099"/>
                <a:gd name="T72" fmla="*/ 35 w 534"/>
                <a:gd name="T73" fmla="*/ 445 h 1099"/>
                <a:gd name="T74" fmla="*/ 20 w 534"/>
                <a:gd name="T75" fmla="*/ 496 h 1099"/>
                <a:gd name="T76" fmla="*/ 9 w 534"/>
                <a:gd name="T77" fmla="*/ 547 h 1099"/>
                <a:gd name="T78" fmla="*/ 2 w 534"/>
                <a:gd name="T79" fmla="*/ 599 h 1099"/>
                <a:gd name="T80" fmla="*/ 0 w 534"/>
                <a:gd name="T81" fmla="*/ 651 h 1099"/>
                <a:gd name="T82" fmla="*/ 2 w 534"/>
                <a:gd name="T83" fmla="*/ 702 h 1099"/>
                <a:gd name="T84" fmla="*/ 9 w 534"/>
                <a:gd name="T85" fmla="*/ 754 h 1099"/>
                <a:gd name="T86" fmla="*/ 19 w 534"/>
                <a:gd name="T87" fmla="*/ 804 h 1099"/>
                <a:gd name="T88" fmla="*/ 34 w 534"/>
                <a:gd name="T89" fmla="*/ 854 h 1099"/>
                <a:gd name="T90" fmla="*/ 52 w 534"/>
                <a:gd name="T91" fmla="*/ 903 h 1099"/>
                <a:gd name="T92" fmla="*/ 75 w 534"/>
                <a:gd name="T93" fmla="*/ 950 h 1099"/>
                <a:gd name="T94" fmla="*/ 102 w 534"/>
                <a:gd name="T95" fmla="*/ 995 h 1099"/>
                <a:gd name="T96" fmla="*/ 132 w 534"/>
                <a:gd name="T97" fmla="*/ 1039 h 1099"/>
                <a:gd name="T98" fmla="*/ 166 w 534"/>
                <a:gd name="T99" fmla="*/ 1080 h 1099"/>
                <a:gd name="T100" fmla="*/ 230 w 534"/>
                <a:gd name="T101" fmla="*/ 935 h 1099"/>
                <a:gd name="T102" fmla="*/ 398 w 534"/>
                <a:gd name="T103" fmla="*/ 870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4" h="1099">
                  <a:moveTo>
                    <a:pt x="398" y="870"/>
                  </a:moveTo>
                  <a:lnTo>
                    <a:pt x="390" y="860"/>
                  </a:lnTo>
                  <a:lnTo>
                    <a:pt x="382" y="850"/>
                  </a:lnTo>
                  <a:lnTo>
                    <a:pt x="375" y="840"/>
                  </a:lnTo>
                  <a:lnTo>
                    <a:pt x="368" y="830"/>
                  </a:lnTo>
                  <a:lnTo>
                    <a:pt x="361" y="819"/>
                  </a:lnTo>
                  <a:lnTo>
                    <a:pt x="355" y="808"/>
                  </a:lnTo>
                  <a:lnTo>
                    <a:pt x="349" y="797"/>
                  </a:lnTo>
                  <a:lnTo>
                    <a:pt x="344" y="786"/>
                  </a:lnTo>
                  <a:lnTo>
                    <a:pt x="340" y="774"/>
                  </a:lnTo>
                  <a:lnTo>
                    <a:pt x="335" y="763"/>
                  </a:lnTo>
                  <a:lnTo>
                    <a:pt x="332" y="751"/>
                  </a:lnTo>
                  <a:lnTo>
                    <a:pt x="328" y="739"/>
                  </a:lnTo>
                  <a:lnTo>
                    <a:pt x="326" y="727"/>
                  </a:lnTo>
                  <a:lnTo>
                    <a:pt x="323" y="715"/>
                  </a:lnTo>
                  <a:lnTo>
                    <a:pt x="321" y="702"/>
                  </a:lnTo>
                  <a:lnTo>
                    <a:pt x="320" y="690"/>
                  </a:lnTo>
                  <a:lnTo>
                    <a:pt x="319" y="678"/>
                  </a:lnTo>
                  <a:lnTo>
                    <a:pt x="319" y="665"/>
                  </a:lnTo>
                  <a:lnTo>
                    <a:pt x="319" y="653"/>
                  </a:lnTo>
                  <a:lnTo>
                    <a:pt x="319" y="640"/>
                  </a:lnTo>
                  <a:lnTo>
                    <a:pt x="320" y="628"/>
                  </a:lnTo>
                  <a:lnTo>
                    <a:pt x="322" y="616"/>
                  </a:lnTo>
                  <a:lnTo>
                    <a:pt x="324" y="603"/>
                  </a:lnTo>
                  <a:lnTo>
                    <a:pt x="327" y="591"/>
                  </a:lnTo>
                  <a:lnTo>
                    <a:pt x="330" y="579"/>
                  </a:lnTo>
                  <a:lnTo>
                    <a:pt x="333" y="566"/>
                  </a:lnTo>
                  <a:lnTo>
                    <a:pt x="337" y="554"/>
                  </a:lnTo>
                  <a:lnTo>
                    <a:pt x="342" y="542"/>
                  </a:lnTo>
                  <a:lnTo>
                    <a:pt x="347" y="530"/>
                  </a:lnTo>
                  <a:lnTo>
                    <a:pt x="353" y="519"/>
                  </a:lnTo>
                  <a:lnTo>
                    <a:pt x="359" y="507"/>
                  </a:lnTo>
                  <a:lnTo>
                    <a:pt x="366" y="496"/>
                  </a:lnTo>
                  <a:lnTo>
                    <a:pt x="371" y="488"/>
                  </a:lnTo>
                  <a:lnTo>
                    <a:pt x="377" y="480"/>
                  </a:lnTo>
                  <a:lnTo>
                    <a:pt x="383" y="472"/>
                  </a:lnTo>
                  <a:lnTo>
                    <a:pt x="389" y="464"/>
                  </a:lnTo>
                  <a:lnTo>
                    <a:pt x="395" y="457"/>
                  </a:lnTo>
                  <a:lnTo>
                    <a:pt x="401" y="450"/>
                  </a:lnTo>
                  <a:lnTo>
                    <a:pt x="408" y="443"/>
                  </a:lnTo>
                  <a:lnTo>
                    <a:pt x="414" y="436"/>
                  </a:lnTo>
                  <a:lnTo>
                    <a:pt x="421" y="430"/>
                  </a:lnTo>
                  <a:lnTo>
                    <a:pt x="428" y="424"/>
                  </a:lnTo>
                  <a:lnTo>
                    <a:pt x="435" y="418"/>
                  </a:lnTo>
                  <a:lnTo>
                    <a:pt x="443" y="412"/>
                  </a:lnTo>
                  <a:lnTo>
                    <a:pt x="450" y="406"/>
                  </a:lnTo>
                  <a:lnTo>
                    <a:pt x="458" y="401"/>
                  </a:lnTo>
                  <a:lnTo>
                    <a:pt x="465" y="396"/>
                  </a:lnTo>
                  <a:lnTo>
                    <a:pt x="473" y="391"/>
                  </a:lnTo>
                  <a:lnTo>
                    <a:pt x="504" y="454"/>
                  </a:lnTo>
                  <a:lnTo>
                    <a:pt x="534" y="185"/>
                  </a:lnTo>
                  <a:lnTo>
                    <a:pt x="329" y="0"/>
                  </a:lnTo>
                  <a:lnTo>
                    <a:pt x="363" y="79"/>
                  </a:lnTo>
                  <a:lnTo>
                    <a:pt x="344" y="89"/>
                  </a:lnTo>
                  <a:lnTo>
                    <a:pt x="324" y="99"/>
                  </a:lnTo>
                  <a:lnTo>
                    <a:pt x="305" y="111"/>
                  </a:lnTo>
                  <a:lnTo>
                    <a:pt x="286" y="123"/>
                  </a:lnTo>
                  <a:lnTo>
                    <a:pt x="267" y="136"/>
                  </a:lnTo>
                  <a:lnTo>
                    <a:pt x="249" y="150"/>
                  </a:lnTo>
                  <a:lnTo>
                    <a:pt x="231" y="164"/>
                  </a:lnTo>
                  <a:lnTo>
                    <a:pt x="214" y="180"/>
                  </a:lnTo>
                  <a:lnTo>
                    <a:pt x="197" y="196"/>
                  </a:lnTo>
                  <a:lnTo>
                    <a:pt x="180" y="212"/>
                  </a:lnTo>
                  <a:lnTo>
                    <a:pt x="165" y="229"/>
                  </a:lnTo>
                  <a:lnTo>
                    <a:pt x="149" y="247"/>
                  </a:lnTo>
                  <a:lnTo>
                    <a:pt x="134" y="265"/>
                  </a:lnTo>
                  <a:lnTo>
                    <a:pt x="120" y="284"/>
                  </a:lnTo>
                  <a:lnTo>
                    <a:pt x="107" y="303"/>
                  </a:lnTo>
                  <a:lnTo>
                    <a:pt x="94" y="323"/>
                  </a:lnTo>
                  <a:lnTo>
                    <a:pt x="80" y="347"/>
                  </a:lnTo>
                  <a:lnTo>
                    <a:pt x="67" y="371"/>
                  </a:lnTo>
                  <a:lnTo>
                    <a:pt x="55" y="395"/>
                  </a:lnTo>
                  <a:lnTo>
                    <a:pt x="45" y="420"/>
                  </a:lnTo>
                  <a:lnTo>
                    <a:pt x="35" y="445"/>
                  </a:lnTo>
                  <a:lnTo>
                    <a:pt x="27" y="470"/>
                  </a:lnTo>
                  <a:lnTo>
                    <a:pt x="20" y="496"/>
                  </a:lnTo>
                  <a:lnTo>
                    <a:pt x="14" y="521"/>
                  </a:lnTo>
                  <a:lnTo>
                    <a:pt x="9" y="547"/>
                  </a:lnTo>
                  <a:lnTo>
                    <a:pt x="5" y="573"/>
                  </a:lnTo>
                  <a:lnTo>
                    <a:pt x="2" y="599"/>
                  </a:lnTo>
                  <a:lnTo>
                    <a:pt x="1" y="625"/>
                  </a:lnTo>
                  <a:lnTo>
                    <a:pt x="0" y="651"/>
                  </a:lnTo>
                  <a:lnTo>
                    <a:pt x="1" y="676"/>
                  </a:lnTo>
                  <a:lnTo>
                    <a:pt x="2" y="702"/>
                  </a:lnTo>
                  <a:lnTo>
                    <a:pt x="5" y="728"/>
                  </a:lnTo>
                  <a:lnTo>
                    <a:pt x="9" y="754"/>
                  </a:lnTo>
                  <a:lnTo>
                    <a:pt x="13" y="779"/>
                  </a:lnTo>
                  <a:lnTo>
                    <a:pt x="19" y="804"/>
                  </a:lnTo>
                  <a:lnTo>
                    <a:pt x="26" y="830"/>
                  </a:lnTo>
                  <a:lnTo>
                    <a:pt x="34" y="854"/>
                  </a:lnTo>
                  <a:lnTo>
                    <a:pt x="43" y="879"/>
                  </a:lnTo>
                  <a:lnTo>
                    <a:pt x="52" y="903"/>
                  </a:lnTo>
                  <a:lnTo>
                    <a:pt x="63" y="927"/>
                  </a:lnTo>
                  <a:lnTo>
                    <a:pt x="75" y="950"/>
                  </a:lnTo>
                  <a:lnTo>
                    <a:pt x="88" y="973"/>
                  </a:lnTo>
                  <a:lnTo>
                    <a:pt x="102" y="995"/>
                  </a:lnTo>
                  <a:lnTo>
                    <a:pt x="116" y="1017"/>
                  </a:lnTo>
                  <a:lnTo>
                    <a:pt x="132" y="1039"/>
                  </a:lnTo>
                  <a:lnTo>
                    <a:pt x="149" y="1060"/>
                  </a:lnTo>
                  <a:lnTo>
                    <a:pt x="166" y="1080"/>
                  </a:lnTo>
                  <a:lnTo>
                    <a:pt x="185" y="1099"/>
                  </a:lnTo>
                  <a:lnTo>
                    <a:pt x="230" y="935"/>
                  </a:lnTo>
                  <a:lnTo>
                    <a:pt x="398" y="870"/>
                  </a:lnTo>
                  <a:lnTo>
                    <a:pt x="398" y="870"/>
                  </a:lnTo>
                  <a:close/>
                </a:path>
              </a:pathLst>
            </a:custGeom>
            <a:solidFill>
              <a:schemeClr val="bg1">
                <a:lumMod val="85000"/>
              </a:schemeClr>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5" name="Freeform 5">
              <a:extLst>
                <a:ext uri="{FF2B5EF4-FFF2-40B4-BE49-F238E27FC236}">
                  <a16:creationId xmlns:a16="http://schemas.microsoft.com/office/drawing/2014/main" id="{1C6564D3-97D8-1E6A-7D98-6B6BBC6A98B2}"/>
                </a:ext>
              </a:extLst>
            </p:cNvPr>
            <p:cNvSpPr>
              <a:spLocks/>
            </p:cNvSpPr>
            <p:nvPr>
              <p:custDataLst>
                <p:tags r:id="rId2"/>
              </p:custDataLst>
            </p:nvPr>
          </p:nvSpPr>
          <p:spPr bwMode="auto">
            <a:xfrm rot="2315660">
              <a:off x="541641" y="4153153"/>
              <a:ext cx="4022822" cy="2005025"/>
            </a:xfrm>
            <a:custGeom>
              <a:avLst/>
              <a:gdLst>
                <a:gd name="T0" fmla="*/ 730 w 1037"/>
                <a:gd name="T1" fmla="*/ 11 h 526"/>
                <a:gd name="T2" fmla="*/ 719 w 1037"/>
                <a:gd name="T3" fmla="*/ 34 h 526"/>
                <a:gd name="T4" fmla="*/ 707 w 1037"/>
                <a:gd name="T5" fmla="*/ 56 h 526"/>
                <a:gd name="T6" fmla="*/ 693 w 1037"/>
                <a:gd name="T7" fmla="*/ 77 h 526"/>
                <a:gd name="T8" fmla="*/ 678 w 1037"/>
                <a:gd name="T9" fmla="*/ 96 h 526"/>
                <a:gd name="T10" fmla="*/ 661 w 1037"/>
                <a:gd name="T11" fmla="*/ 114 h 526"/>
                <a:gd name="T12" fmla="*/ 642 w 1037"/>
                <a:gd name="T13" fmla="*/ 131 h 526"/>
                <a:gd name="T14" fmla="*/ 623 w 1037"/>
                <a:gd name="T15" fmla="*/ 146 h 526"/>
                <a:gd name="T16" fmla="*/ 602 w 1037"/>
                <a:gd name="T17" fmla="*/ 160 h 526"/>
                <a:gd name="T18" fmla="*/ 580 w 1037"/>
                <a:gd name="T19" fmla="*/ 172 h 526"/>
                <a:gd name="T20" fmla="*/ 558 w 1037"/>
                <a:gd name="T21" fmla="*/ 182 h 526"/>
                <a:gd name="T22" fmla="*/ 534 w 1037"/>
                <a:gd name="T23" fmla="*/ 190 h 526"/>
                <a:gd name="T24" fmla="*/ 510 w 1037"/>
                <a:gd name="T25" fmla="*/ 197 h 526"/>
                <a:gd name="T26" fmla="*/ 484 w 1037"/>
                <a:gd name="T27" fmla="*/ 201 h 526"/>
                <a:gd name="T28" fmla="*/ 459 w 1037"/>
                <a:gd name="T29" fmla="*/ 204 h 526"/>
                <a:gd name="T30" fmla="*/ 432 w 1037"/>
                <a:gd name="T31" fmla="*/ 204 h 526"/>
                <a:gd name="T32" fmla="*/ 410 w 1037"/>
                <a:gd name="T33" fmla="*/ 203 h 526"/>
                <a:gd name="T34" fmla="*/ 391 w 1037"/>
                <a:gd name="T35" fmla="*/ 200 h 526"/>
                <a:gd name="T36" fmla="*/ 372 w 1037"/>
                <a:gd name="T37" fmla="*/ 196 h 526"/>
                <a:gd name="T38" fmla="*/ 353 w 1037"/>
                <a:gd name="T39" fmla="*/ 192 h 526"/>
                <a:gd name="T40" fmla="*/ 335 w 1037"/>
                <a:gd name="T41" fmla="*/ 186 h 526"/>
                <a:gd name="T42" fmla="*/ 318 w 1037"/>
                <a:gd name="T43" fmla="*/ 179 h 526"/>
                <a:gd name="T44" fmla="*/ 301 w 1037"/>
                <a:gd name="T45" fmla="*/ 171 h 526"/>
                <a:gd name="T46" fmla="*/ 285 w 1037"/>
                <a:gd name="T47" fmla="*/ 163 h 526"/>
                <a:gd name="T48" fmla="*/ 318 w 1037"/>
                <a:gd name="T49" fmla="*/ 101 h 526"/>
                <a:gd name="T50" fmla="*/ 0 w 1037"/>
                <a:gd name="T51" fmla="*/ 469 h 526"/>
                <a:gd name="T52" fmla="*/ 71 w 1037"/>
                <a:gd name="T53" fmla="*/ 414 h 526"/>
                <a:gd name="T54" fmla="*/ 108 w 1037"/>
                <a:gd name="T55" fmla="*/ 438 h 526"/>
                <a:gd name="T56" fmla="*/ 148 w 1037"/>
                <a:gd name="T57" fmla="*/ 460 h 526"/>
                <a:gd name="T58" fmla="*/ 190 w 1037"/>
                <a:gd name="T59" fmla="*/ 478 h 526"/>
                <a:gd name="T60" fmla="*/ 234 w 1037"/>
                <a:gd name="T61" fmla="*/ 494 h 526"/>
                <a:gd name="T62" fmla="*/ 279 w 1037"/>
                <a:gd name="T63" fmla="*/ 507 h 526"/>
                <a:gd name="T64" fmla="*/ 325 w 1037"/>
                <a:gd name="T65" fmla="*/ 516 h 526"/>
                <a:gd name="T66" fmla="*/ 371 w 1037"/>
                <a:gd name="T67" fmla="*/ 523 h 526"/>
                <a:gd name="T68" fmla="*/ 422 w 1037"/>
                <a:gd name="T69" fmla="*/ 526 h 526"/>
                <a:gd name="T70" fmla="*/ 476 w 1037"/>
                <a:gd name="T71" fmla="*/ 525 h 526"/>
                <a:gd name="T72" fmla="*/ 530 w 1037"/>
                <a:gd name="T73" fmla="*/ 519 h 526"/>
                <a:gd name="T74" fmla="*/ 582 w 1037"/>
                <a:gd name="T75" fmla="*/ 509 h 526"/>
                <a:gd name="T76" fmla="*/ 632 w 1037"/>
                <a:gd name="T77" fmla="*/ 495 h 526"/>
                <a:gd name="T78" fmla="*/ 681 w 1037"/>
                <a:gd name="T79" fmla="*/ 476 h 526"/>
                <a:gd name="T80" fmla="*/ 728 w 1037"/>
                <a:gd name="T81" fmla="*/ 454 h 526"/>
                <a:gd name="T82" fmla="*/ 773 w 1037"/>
                <a:gd name="T83" fmla="*/ 428 h 526"/>
                <a:gd name="T84" fmla="*/ 815 w 1037"/>
                <a:gd name="T85" fmla="*/ 398 h 526"/>
                <a:gd name="T86" fmla="*/ 855 w 1037"/>
                <a:gd name="T87" fmla="*/ 365 h 526"/>
                <a:gd name="T88" fmla="*/ 892 w 1037"/>
                <a:gd name="T89" fmla="*/ 329 h 526"/>
                <a:gd name="T90" fmla="*/ 926 w 1037"/>
                <a:gd name="T91" fmla="*/ 289 h 526"/>
                <a:gd name="T92" fmla="*/ 957 w 1037"/>
                <a:gd name="T93" fmla="*/ 247 h 526"/>
                <a:gd name="T94" fmla="*/ 985 w 1037"/>
                <a:gd name="T95" fmla="*/ 202 h 526"/>
                <a:gd name="T96" fmla="*/ 1009 w 1037"/>
                <a:gd name="T97" fmla="*/ 155 h 526"/>
                <a:gd name="T98" fmla="*/ 1029 w 1037"/>
                <a:gd name="T99" fmla="*/ 106 h 526"/>
                <a:gd name="T100" fmla="*/ 872 w 1037"/>
                <a:gd name="T101" fmla="*/ 117 h 526"/>
                <a:gd name="T102" fmla="*/ 735 w 1037"/>
                <a:gd name="T103"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7" h="526">
                  <a:moveTo>
                    <a:pt x="735" y="0"/>
                  </a:moveTo>
                  <a:lnTo>
                    <a:pt x="730" y="11"/>
                  </a:lnTo>
                  <a:lnTo>
                    <a:pt x="725" y="23"/>
                  </a:lnTo>
                  <a:lnTo>
                    <a:pt x="719" y="34"/>
                  </a:lnTo>
                  <a:lnTo>
                    <a:pt x="713" y="45"/>
                  </a:lnTo>
                  <a:lnTo>
                    <a:pt x="707" y="56"/>
                  </a:lnTo>
                  <a:lnTo>
                    <a:pt x="700" y="67"/>
                  </a:lnTo>
                  <a:lnTo>
                    <a:pt x="693" y="77"/>
                  </a:lnTo>
                  <a:lnTo>
                    <a:pt x="686" y="87"/>
                  </a:lnTo>
                  <a:lnTo>
                    <a:pt x="678" y="96"/>
                  </a:lnTo>
                  <a:lnTo>
                    <a:pt x="669" y="105"/>
                  </a:lnTo>
                  <a:lnTo>
                    <a:pt x="661" y="114"/>
                  </a:lnTo>
                  <a:lnTo>
                    <a:pt x="652" y="123"/>
                  </a:lnTo>
                  <a:lnTo>
                    <a:pt x="642" y="131"/>
                  </a:lnTo>
                  <a:lnTo>
                    <a:pt x="633" y="139"/>
                  </a:lnTo>
                  <a:lnTo>
                    <a:pt x="623" y="146"/>
                  </a:lnTo>
                  <a:lnTo>
                    <a:pt x="613" y="153"/>
                  </a:lnTo>
                  <a:lnTo>
                    <a:pt x="602" y="160"/>
                  </a:lnTo>
                  <a:lnTo>
                    <a:pt x="591" y="166"/>
                  </a:lnTo>
                  <a:lnTo>
                    <a:pt x="580" y="172"/>
                  </a:lnTo>
                  <a:lnTo>
                    <a:pt x="569" y="177"/>
                  </a:lnTo>
                  <a:lnTo>
                    <a:pt x="558" y="182"/>
                  </a:lnTo>
                  <a:lnTo>
                    <a:pt x="546" y="186"/>
                  </a:lnTo>
                  <a:lnTo>
                    <a:pt x="534" y="190"/>
                  </a:lnTo>
                  <a:lnTo>
                    <a:pt x="522" y="194"/>
                  </a:lnTo>
                  <a:lnTo>
                    <a:pt x="510" y="197"/>
                  </a:lnTo>
                  <a:lnTo>
                    <a:pt x="497" y="199"/>
                  </a:lnTo>
                  <a:lnTo>
                    <a:pt x="484" y="201"/>
                  </a:lnTo>
                  <a:lnTo>
                    <a:pt x="472" y="203"/>
                  </a:lnTo>
                  <a:lnTo>
                    <a:pt x="459" y="204"/>
                  </a:lnTo>
                  <a:lnTo>
                    <a:pt x="446" y="204"/>
                  </a:lnTo>
                  <a:lnTo>
                    <a:pt x="432" y="204"/>
                  </a:lnTo>
                  <a:lnTo>
                    <a:pt x="419" y="203"/>
                  </a:lnTo>
                  <a:lnTo>
                    <a:pt x="410" y="203"/>
                  </a:lnTo>
                  <a:lnTo>
                    <a:pt x="400" y="201"/>
                  </a:lnTo>
                  <a:lnTo>
                    <a:pt x="391" y="200"/>
                  </a:lnTo>
                  <a:lnTo>
                    <a:pt x="381" y="198"/>
                  </a:lnTo>
                  <a:lnTo>
                    <a:pt x="372" y="196"/>
                  </a:lnTo>
                  <a:lnTo>
                    <a:pt x="363" y="194"/>
                  </a:lnTo>
                  <a:lnTo>
                    <a:pt x="353" y="192"/>
                  </a:lnTo>
                  <a:lnTo>
                    <a:pt x="344" y="189"/>
                  </a:lnTo>
                  <a:lnTo>
                    <a:pt x="335" y="186"/>
                  </a:lnTo>
                  <a:lnTo>
                    <a:pt x="327" y="182"/>
                  </a:lnTo>
                  <a:lnTo>
                    <a:pt x="318" y="179"/>
                  </a:lnTo>
                  <a:lnTo>
                    <a:pt x="309" y="175"/>
                  </a:lnTo>
                  <a:lnTo>
                    <a:pt x="301" y="171"/>
                  </a:lnTo>
                  <a:lnTo>
                    <a:pt x="293" y="167"/>
                  </a:lnTo>
                  <a:lnTo>
                    <a:pt x="285" y="163"/>
                  </a:lnTo>
                  <a:lnTo>
                    <a:pt x="277" y="158"/>
                  </a:lnTo>
                  <a:lnTo>
                    <a:pt x="318" y="101"/>
                  </a:lnTo>
                  <a:lnTo>
                    <a:pt x="67" y="201"/>
                  </a:lnTo>
                  <a:lnTo>
                    <a:pt x="0" y="469"/>
                  </a:lnTo>
                  <a:lnTo>
                    <a:pt x="53" y="401"/>
                  </a:lnTo>
                  <a:lnTo>
                    <a:pt x="71" y="414"/>
                  </a:lnTo>
                  <a:lnTo>
                    <a:pt x="89" y="427"/>
                  </a:lnTo>
                  <a:lnTo>
                    <a:pt x="108" y="438"/>
                  </a:lnTo>
                  <a:lnTo>
                    <a:pt x="128" y="449"/>
                  </a:lnTo>
                  <a:lnTo>
                    <a:pt x="148" y="460"/>
                  </a:lnTo>
                  <a:lnTo>
                    <a:pt x="169" y="469"/>
                  </a:lnTo>
                  <a:lnTo>
                    <a:pt x="190" y="478"/>
                  </a:lnTo>
                  <a:lnTo>
                    <a:pt x="212" y="486"/>
                  </a:lnTo>
                  <a:lnTo>
                    <a:pt x="234" y="494"/>
                  </a:lnTo>
                  <a:lnTo>
                    <a:pt x="256" y="501"/>
                  </a:lnTo>
                  <a:lnTo>
                    <a:pt x="279" y="507"/>
                  </a:lnTo>
                  <a:lnTo>
                    <a:pt x="302" y="512"/>
                  </a:lnTo>
                  <a:lnTo>
                    <a:pt x="325" y="516"/>
                  </a:lnTo>
                  <a:lnTo>
                    <a:pt x="348" y="520"/>
                  </a:lnTo>
                  <a:lnTo>
                    <a:pt x="371" y="523"/>
                  </a:lnTo>
                  <a:lnTo>
                    <a:pt x="395" y="525"/>
                  </a:lnTo>
                  <a:lnTo>
                    <a:pt x="422" y="526"/>
                  </a:lnTo>
                  <a:lnTo>
                    <a:pt x="449" y="526"/>
                  </a:lnTo>
                  <a:lnTo>
                    <a:pt x="476" y="525"/>
                  </a:lnTo>
                  <a:lnTo>
                    <a:pt x="503" y="523"/>
                  </a:lnTo>
                  <a:lnTo>
                    <a:pt x="530" y="519"/>
                  </a:lnTo>
                  <a:lnTo>
                    <a:pt x="556" y="515"/>
                  </a:lnTo>
                  <a:lnTo>
                    <a:pt x="582" y="509"/>
                  </a:lnTo>
                  <a:lnTo>
                    <a:pt x="607" y="503"/>
                  </a:lnTo>
                  <a:lnTo>
                    <a:pt x="632" y="495"/>
                  </a:lnTo>
                  <a:lnTo>
                    <a:pt x="657" y="486"/>
                  </a:lnTo>
                  <a:lnTo>
                    <a:pt x="681" y="476"/>
                  </a:lnTo>
                  <a:lnTo>
                    <a:pt x="705" y="466"/>
                  </a:lnTo>
                  <a:lnTo>
                    <a:pt x="728" y="454"/>
                  </a:lnTo>
                  <a:lnTo>
                    <a:pt x="750" y="441"/>
                  </a:lnTo>
                  <a:lnTo>
                    <a:pt x="773" y="428"/>
                  </a:lnTo>
                  <a:lnTo>
                    <a:pt x="794" y="413"/>
                  </a:lnTo>
                  <a:lnTo>
                    <a:pt x="815" y="398"/>
                  </a:lnTo>
                  <a:lnTo>
                    <a:pt x="835" y="382"/>
                  </a:lnTo>
                  <a:lnTo>
                    <a:pt x="855" y="365"/>
                  </a:lnTo>
                  <a:lnTo>
                    <a:pt x="874" y="347"/>
                  </a:lnTo>
                  <a:lnTo>
                    <a:pt x="892" y="329"/>
                  </a:lnTo>
                  <a:lnTo>
                    <a:pt x="909" y="309"/>
                  </a:lnTo>
                  <a:lnTo>
                    <a:pt x="926" y="289"/>
                  </a:lnTo>
                  <a:lnTo>
                    <a:pt x="942" y="269"/>
                  </a:lnTo>
                  <a:lnTo>
                    <a:pt x="957" y="247"/>
                  </a:lnTo>
                  <a:lnTo>
                    <a:pt x="971" y="225"/>
                  </a:lnTo>
                  <a:lnTo>
                    <a:pt x="985" y="202"/>
                  </a:lnTo>
                  <a:lnTo>
                    <a:pt x="997" y="179"/>
                  </a:lnTo>
                  <a:lnTo>
                    <a:pt x="1009" y="155"/>
                  </a:lnTo>
                  <a:lnTo>
                    <a:pt x="1019" y="131"/>
                  </a:lnTo>
                  <a:lnTo>
                    <a:pt x="1029" y="106"/>
                  </a:lnTo>
                  <a:lnTo>
                    <a:pt x="1037" y="80"/>
                  </a:lnTo>
                  <a:lnTo>
                    <a:pt x="872" y="117"/>
                  </a:lnTo>
                  <a:lnTo>
                    <a:pt x="735" y="0"/>
                  </a:lnTo>
                  <a:lnTo>
                    <a:pt x="735" y="0"/>
                  </a:lnTo>
                  <a:close/>
                </a:path>
              </a:pathLst>
            </a:custGeom>
            <a:solidFill>
              <a:schemeClr val="tx2"/>
            </a:solidFill>
            <a:ln w="38100" cap="flat" cmpd="sng" algn="ctr">
              <a:solidFill>
                <a:schemeClr val="bg1"/>
              </a:solid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6" name="Freeform 4">
              <a:extLst>
                <a:ext uri="{FF2B5EF4-FFF2-40B4-BE49-F238E27FC236}">
                  <a16:creationId xmlns:a16="http://schemas.microsoft.com/office/drawing/2014/main" id="{0F91EDE1-5FCD-19BB-CA14-BA5BB50B5A26}"/>
                </a:ext>
              </a:extLst>
            </p:cNvPr>
            <p:cNvSpPr>
              <a:spLocks/>
            </p:cNvSpPr>
            <p:nvPr>
              <p:custDataLst>
                <p:tags r:id="rId3"/>
              </p:custDataLst>
            </p:nvPr>
          </p:nvSpPr>
          <p:spPr bwMode="auto">
            <a:xfrm rot="2243846">
              <a:off x="2785322" y="2246716"/>
              <a:ext cx="3454520" cy="3128859"/>
            </a:xfrm>
            <a:custGeom>
              <a:avLst/>
              <a:gdLst>
                <a:gd name="T0" fmla="*/ 125 w 893"/>
                <a:gd name="T1" fmla="*/ 323 h 826"/>
                <a:gd name="T2" fmla="*/ 151 w 893"/>
                <a:gd name="T3" fmla="*/ 323 h 826"/>
                <a:gd name="T4" fmla="*/ 177 w 893"/>
                <a:gd name="T5" fmla="*/ 324 h 826"/>
                <a:gd name="T6" fmla="*/ 204 w 893"/>
                <a:gd name="T7" fmla="*/ 327 h 826"/>
                <a:gd name="T8" fmla="*/ 230 w 893"/>
                <a:gd name="T9" fmla="*/ 331 h 826"/>
                <a:gd name="T10" fmla="*/ 257 w 893"/>
                <a:gd name="T11" fmla="*/ 338 h 826"/>
                <a:gd name="T12" fmla="*/ 282 w 893"/>
                <a:gd name="T13" fmla="*/ 346 h 826"/>
                <a:gd name="T14" fmla="*/ 308 w 893"/>
                <a:gd name="T15" fmla="*/ 356 h 826"/>
                <a:gd name="T16" fmla="*/ 332 w 893"/>
                <a:gd name="T17" fmla="*/ 367 h 826"/>
                <a:gd name="T18" fmla="*/ 355 w 893"/>
                <a:gd name="T19" fmla="*/ 380 h 826"/>
                <a:gd name="T20" fmla="*/ 377 w 893"/>
                <a:gd name="T21" fmla="*/ 395 h 826"/>
                <a:gd name="T22" fmla="*/ 398 w 893"/>
                <a:gd name="T23" fmla="*/ 412 h 826"/>
                <a:gd name="T24" fmla="*/ 417 w 893"/>
                <a:gd name="T25" fmla="*/ 430 h 826"/>
                <a:gd name="T26" fmla="*/ 434 w 893"/>
                <a:gd name="T27" fmla="*/ 450 h 826"/>
                <a:gd name="T28" fmla="*/ 449 w 893"/>
                <a:gd name="T29" fmla="*/ 472 h 826"/>
                <a:gd name="T30" fmla="*/ 461 w 893"/>
                <a:gd name="T31" fmla="*/ 495 h 826"/>
                <a:gd name="T32" fmla="*/ 473 w 893"/>
                <a:gd name="T33" fmla="*/ 526 h 826"/>
                <a:gd name="T34" fmla="*/ 484 w 893"/>
                <a:gd name="T35" fmla="*/ 563 h 826"/>
                <a:gd name="T36" fmla="*/ 488 w 893"/>
                <a:gd name="T37" fmla="*/ 581 h 826"/>
                <a:gd name="T38" fmla="*/ 491 w 893"/>
                <a:gd name="T39" fmla="*/ 600 h 826"/>
                <a:gd name="T40" fmla="*/ 492 w 893"/>
                <a:gd name="T41" fmla="*/ 619 h 826"/>
                <a:gd name="T42" fmla="*/ 493 w 893"/>
                <a:gd name="T43" fmla="*/ 637 h 826"/>
                <a:gd name="T44" fmla="*/ 492 w 893"/>
                <a:gd name="T45" fmla="*/ 655 h 826"/>
                <a:gd name="T46" fmla="*/ 623 w 893"/>
                <a:gd name="T47" fmla="*/ 826 h 826"/>
                <a:gd name="T48" fmla="*/ 809 w 893"/>
                <a:gd name="T49" fmla="*/ 750 h 826"/>
                <a:gd name="T50" fmla="*/ 816 w 893"/>
                <a:gd name="T51" fmla="*/ 706 h 826"/>
                <a:gd name="T52" fmla="*/ 819 w 893"/>
                <a:gd name="T53" fmla="*/ 662 h 826"/>
                <a:gd name="T54" fmla="*/ 819 w 893"/>
                <a:gd name="T55" fmla="*/ 616 h 826"/>
                <a:gd name="T56" fmla="*/ 816 w 893"/>
                <a:gd name="T57" fmla="*/ 570 h 826"/>
                <a:gd name="T58" fmla="*/ 809 w 893"/>
                <a:gd name="T59" fmla="*/ 524 h 826"/>
                <a:gd name="T60" fmla="*/ 799 w 893"/>
                <a:gd name="T61" fmla="*/ 478 h 826"/>
                <a:gd name="T62" fmla="*/ 786 w 893"/>
                <a:gd name="T63" fmla="*/ 433 h 826"/>
                <a:gd name="T64" fmla="*/ 770 w 893"/>
                <a:gd name="T65" fmla="*/ 389 h 826"/>
                <a:gd name="T66" fmla="*/ 758 w 893"/>
                <a:gd name="T67" fmla="*/ 362 h 826"/>
                <a:gd name="T68" fmla="*/ 745 w 893"/>
                <a:gd name="T69" fmla="*/ 337 h 826"/>
                <a:gd name="T70" fmla="*/ 731 w 893"/>
                <a:gd name="T71" fmla="*/ 311 h 826"/>
                <a:gd name="T72" fmla="*/ 716 w 893"/>
                <a:gd name="T73" fmla="*/ 287 h 826"/>
                <a:gd name="T74" fmla="*/ 700 w 893"/>
                <a:gd name="T75" fmla="*/ 263 h 826"/>
                <a:gd name="T76" fmla="*/ 682 w 893"/>
                <a:gd name="T77" fmla="*/ 241 h 826"/>
                <a:gd name="T78" fmla="*/ 645 w 893"/>
                <a:gd name="T79" fmla="*/ 198 h 826"/>
                <a:gd name="T80" fmla="*/ 604 w 893"/>
                <a:gd name="T81" fmla="*/ 159 h 826"/>
                <a:gd name="T82" fmla="*/ 560 w 893"/>
                <a:gd name="T83" fmla="*/ 123 h 826"/>
                <a:gd name="T84" fmla="*/ 512 w 893"/>
                <a:gd name="T85" fmla="*/ 92 h 826"/>
                <a:gd name="T86" fmla="*/ 462 w 893"/>
                <a:gd name="T87" fmla="*/ 65 h 826"/>
                <a:gd name="T88" fmla="*/ 410 w 893"/>
                <a:gd name="T89" fmla="*/ 42 h 826"/>
                <a:gd name="T90" fmla="*/ 355 w 893"/>
                <a:gd name="T91" fmla="*/ 24 h 826"/>
                <a:gd name="T92" fmla="*/ 299 w 893"/>
                <a:gd name="T93" fmla="*/ 11 h 826"/>
                <a:gd name="T94" fmla="*/ 241 w 893"/>
                <a:gd name="T95" fmla="*/ 3 h 826"/>
                <a:gd name="T96" fmla="*/ 211 w 893"/>
                <a:gd name="T97" fmla="*/ 1 h 826"/>
                <a:gd name="T98" fmla="*/ 181 w 893"/>
                <a:gd name="T99" fmla="*/ 0 h 826"/>
                <a:gd name="T100" fmla="*/ 151 w 893"/>
                <a:gd name="T101" fmla="*/ 0 h 826"/>
                <a:gd name="T102" fmla="*/ 121 w 893"/>
                <a:gd name="T103" fmla="*/ 2 h 826"/>
                <a:gd name="T104" fmla="*/ 91 w 893"/>
                <a:gd name="T105" fmla="*/ 6 h 826"/>
                <a:gd name="T106" fmla="*/ 61 w 893"/>
                <a:gd name="T107" fmla="*/ 10 h 826"/>
                <a:gd name="T108" fmla="*/ 30 w 893"/>
                <a:gd name="T109" fmla="*/ 17 h 826"/>
                <a:gd name="T110" fmla="*/ 0 w 893"/>
                <a:gd name="T111" fmla="*/ 24 h 826"/>
                <a:gd name="T112" fmla="*/ 112 w 893"/>
                <a:gd name="T113" fmla="*/ 3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3" h="826">
                  <a:moveTo>
                    <a:pt x="112" y="325"/>
                  </a:moveTo>
                  <a:lnTo>
                    <a:pt x="125" y="323"/>
                  </a:lnTo>
                  <a:lnTo>
                    <a:pt x="138" y="323"/>
                  </a:lnTo>
                  <a:lnTo>
                    <a:pt x="151" y="323"/>
                  </a:lnTo>
                  <a:lnTo>
                    <a:pt x="164" y="323"/>
                  </a:lnTo>
                  <a:lnTo>
                    <a:pt x="177" y="324"/>
                  </a:lnTo>
                  <a:lnTo>
                    <a:pt x="190" y="325"/>
                  </a:lnTo>
                  <a:lnTo>
                    <a:pt x="204" y="327"/>
                  </a:lnTo>
                  <a:lnTo>
                    <a:pt x="217" y="329"/>
                  </a:lnTo>
                  <a:lnTo>
                    <a:pt x="230" y="331"/>
                  </a:lnTo>
                  <a:lnTo>
                    <a:pt x="243" y="334"/>
                  </a:lnTo>
                  <a:lnTo>
                    <a:pt x="257" y="338"/>
                  </a:lnTo>
                  <a:lnTo>
                    <a:pt x="270" y="341"/>
                  </a:lnTo>
                  <a:lnTo>
                    <a:pt x="282" y="346"/>
                  </a:lnTo>
                  <a:lnTo>
                    <a:pt x="295" y="350"/>
                  </a:lnTo>
                  <a:lnTo>
                    <a:pt x="308" y="356"/>
                  </a:lnTo>
                  <a:lnTo>
                    <a:pt x="320" y="361"/>
                  </a:lnTo>
                  <a:lnTo>
                    <a:pt x="332" y="367"/>
                  </a:lnTo>
                  <a:lnTo>
                    <a:pt x="344" y="374"/>
                  </a:lnTo>
                  <a:lnTo>
                    <a:pt x="355" y="380"/>
                  </a:lnTo>
                  <a:lnTo>
                    <a:pt x="367" y="388"/>
                  </a:lnTo>
                  <a:lnTo>
                    <a:pt x="377" y="395"/>
                  </a:lnTo>
                  <a:lnTo>
                    <a:pt x="388" y="404"/>
                  </a:lnTo>
                  <a:lnTo>
                    <a:pt x="398" y="412"/>
                  </a:lnTo>
                  <a:lnTo>
                    <a:pt x="408" y="421"/>
                  </a:lnTo>
                  <a:lnTo>
                    <a:pt x="417" y="430"/>
                  </a:lnTo>
                  <a:lnTo>
                    <a:pt x="426" y="440"/>
                  </a:lnTo>
                  <a:lnTo>
                    <a:pt x="434" y="450"/>
                  </a:lnTo>
                  <a:lnTo>
                    <a:pt x="442" y="461"/>
                  </a:lnTo>
                  <a:lnTo>
                    <a:pt x="449" y="472"/>
                  </a:lnTo>
                  <a:lnTo>
                    <a:pt x="455" y="484"/>
                  </a:lnTo>
                  <a:lnTo>
                    <a:pt x="461" y="495"/>
                  </a:lnTo>
                  <a:lnTo>
                    <a:pt x="467" y="508"/>
                  </a:lnTo>
                  <a:lnTo>
                    <a:pt x="473" y="526"/>
                  </a:lnTo>
                  <a:lnTo>
                    <a:pt x="479" y="544"/>
                  </a:lnTo>
                  <a:lnTo>
                    <a:pt x="484" y="563"/>
                  </a:lnTo>
                  <a:lnTo>
                    <a:pt x="486" y="572"/>
                  </a:lnTo>
                  <a:lnTo>
                    <a:pt x="488" y="581"/>
                  </a:lnTo>
                  <a:lnTo>
                    <a:pt x="490" y="591"/>
                  </a:lnTo>
                  <a:lnTo>
                    <a:pt x="491" y="600"/>
                  </a:lnTo>
                  <a:lnTo>
                    <a:pt x="492" y="609"/>
                  </a:lnTo>
                  <a:lnTo>
                    <a:pt x="492" y="619"/>
                  </a:lnTo>
                  <a:lnTo>
                    <a:pt x="493" y="628"/>
                  </a:lnTo>
                  <a:lnTo>
                    <a:pt x="493" y="637"/>
                  </a:lnTo>
                  <a:lnTo>
                    <a:pt x="492" y="646"/>
                  </a:lnTo>
                  <a:lnTo>
                    <a:pt x="492" y="655"/>
                  </a:lnTo>
                  <a:lnTo>
                    <a:pt x="422" y="644"/>
                  </a:lnTo>
                  <a:lnTo>
                    <a:pt x="623" y="826"/>
                  </a:lnTo>
                  <a:lnTo>
                    <a:pt x="893" y="768"/>
                  </a:lnTo>
                  <a:lnTo>
                    <a:pt x="809" y="750"/>
                  </a:lnTo>
                  <a:lnTo>
                    <a:pt x="813" y="728"/>
                  </a:lnTo>
                  <a:lnTo>
                    <a:pt x="816" y="706"/>
                  </a:lnTo>
                  <a:lnTo>
                    <a:pt x="818" y="684"/>
                  </a:lnTo>
                  <a:lnTo>
                    <a:pt x="819" y="662"/>
                  </a:lnTo>
                  <a:lnTo>
                    <a:pt x="819" y="639"/>
                  </a:lnTo>
                  <a:lnTo>
                    <a:pt x="819" y="616"/>
                  </a:lnTo>
                  <a:lnTo>
                    <a:pt x="818" y="593"/>
                  </a:lnTo>
                  <a:lnTo>
                    <a:pt x="816" y="570"/>
                  </a:lnTo>
                  <a:lnTo>
                    <a:pt x="813" y="547"/>
                  </a:lnTo>
                  <a:lnTo>
                    <a:pt x="809" y="524"/>
                  </a:lnTo>
                  <a:lnTo>
                    <a:pt x="804" y="501"/>
                  </a:lnTo>
                  <a:lnTo>
                    <a:pt x="799" y="478"/>
                  </a:lnTo>
                  <a:lnTo>
                    <a:pt x="793" y="455"/>
                  </a:lnTo>
                  <a:lnTo>
                    <a:pt x="786" y="433"/>
                  </a:lnTo>
                  <a:lnTo>
                    <a:pt x="778" y="411"/>
                  </a:lnTo>
                  <a:lnTo>
                    <a:pt x="770" y="389"/>
                  </a:lnTo>
                  <a:lnTo>
                    <a:pt x="764" y="376"/>
                  </a:lnTo>
                  <a:lnTo>
                    <a:pt x="758" y="362"/>
                  </a:lnTo>
                  <a:lnTo>
                    <a:pt x="752" y="349"/>
                  </a:lnTo>
                  <a:lnTo>
                    <a:pt x="745" y="337"/>
                  </a:lnTo>
                  <a:lnTo>
                    <a:pt x="738" y="324"/>
                  </a:lnTo>
                  <a:lnTo>
                    <a:pt x="731" y="311"/>
                  </a:lnTo>
                  <a:lnTo>
                    <a:pt x="723" y="299"/>
                  </a:lnTo>
                  <a:lnTo>
                    <a:pt x="716" y="287"/>
                  </a:lnTo>
                  <a:lnTo>
                    <a:pt x="708" y="275"/>
                  </a:lnTo>
                  <a:lnTo>
                    <a:pt x="700" y="263"/>
                  </a:lnTo>
                  <a:lnTo>
                    <a:pt x="691" y="252"/>
                  </a:lnTo>
                  <a:lnTo>
                    <a:pt x="682" y="241"/>
                  </a:lnTo>
                  <a:lnTo>
                    <a:pt x="664" y="219"/>
                  </a:lnTo>
                  <a:lnTo>
                    <a:pt x="645" y="198"/>
                  </a:lnTo>
                  <a:lnTo>
                    <a:pt x="625" y="178"/>
                  </a:lnTo>
                  <a:lnTo>
                    <a:pt x="604" y="159"/>
                  </a:lnTo>
                  <a:lnTo>
                    <a:pt x="582" y="141"/>
                  </a:lnTo>
                  <a:lnTo>
                    <a:pt x="560" y="123"/>
                  </a:lnTo>
                  <a:lnTo>
                    <a:pt x="536" y="107"/>
                  </a:lnTo>
                  <a:lnTo>
                    <a:pt x="512" y="92"/>
                  </a:lnTo>
                  <a:lnTo>
                    <a:pt x="488" y="78"/>
                  </a:lnTo>
                  <a:lnTo>
                    <a:pt x="462" y="65"/>
                  </a:lnTo>
                  <a:lnTo>
                    <a:pt x="436" y="53"/>
                  </a:lnTo>
                  <a:lnTo>
                    <a:pt x="410" y="42"/>
                  </a:lnTo>
                  <a:lnTo>
                    <a:pt x="383" y="33"/>
                  </a:lnTo>
                  <a:lnTo>
                    <a:pt x="355" y="24"/>
                  </a:lnTo>
                  <a:lnTo>
                    <a:pt x="327" y="17"/>
                  </a:lnTo>
                  <a:lnTo>
                    <a:pt x="299" y="11"/>
                  </a:lnTo>
                  <a:lnTo>
                    <a:pt x="270" y="6"/>
                  </a:lnTo>
                  <a:lnTo>
                    <a:pt x="241" y="3"/>
                  </a:lnTo>
                  <a:lnTo>
                    <a:pt x="226" y="2"/>
                  </a:lnTo>
                  <a:lnTo>
                    <a:pt x="211" y="1"/>
                  </a:lnTo>
                  <a:lnTo>
                    <a:pt x="196" y="0"/>
                  </a:lnTo>
                  <a:lnTo>
                    <a:pt x="181" y="0"/>
                  </a:lnTo>
                  <a:lnTo>
                    <a:pt x="166" y="0"/>
                  </a:lnTo>
                  <a:lnTo>
                    <a:pt x="151" y="0"/>
                  </a:lnTo>
                  <a:lnTo>
                    <a:pt x="136" y="1"/>
                  </a:lnTo>
                  <a:lnTo>
                    <a:pt x="121" y="2"/>
                  </a:lnTo>
                  <a:lnTo>
                    <a:pt x="106" y="4"/>
                  </a:lnTo>
                  <a:lnTo>
                    <a:pt x="91" y="6"/>
                  </a:lnTo>
                  <a:lnTo>
                    <a:pt x="76" y="8"/>
                  </a:lnTo>
                  <a:lnTo>
                    <a:pt x="61" y="10"/>
                  </a:lnTo>
                  <a:lnTo>
                    <a:pt x="45" y="13"/>
                  </a:lnTo>
                  <a:lnTo>
                    <a:pt x="30" y="17"/>
                  </a:lnTo>
                  <a:lnTo>
                    <a:pt x="15" y="20"/>
                  </a:lnTo>
                  <a:lnTo>
                    <a:pt x="0" y="24"/>
                  </a:lnTo>
                  <a:lnTo>
                    <a:pt x="135" y="154"/>
                  </a:lnTo>
                  <a:lnTo>
                    <a:pt x="112" y="325"/>
                  </a:lnTo>
                  <a:lnTo>
                    <a:pt x="112" y="325"/>
                  </a:lnTo>
                  <a:close/>
                </a:path>
              </a:pathLst>
            </a:custGeom>
            <a:solidFill>
              <a:schemeClr val="bg1">
                <a:lumMod val="85000"/>
              </a:schemeClr>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7" name="TextBox 16">
              <a:extLst>
                <a:ext uri="{FF2B5EF4-FFF2-40B4-BE49-F238E27FC236}">
                  <a16:creationId xmlns:a16="http://schemas.microsoft.com/office/drawing/2014/main" id="{0505B596-FAB2-C31F-5C86-F6B360215476}"/>
                </a:ext>
              </a:extLst>
            </p:cNvPr>
            <p:cNvSpPr txBox="1"/>
            <p:nvPr/>
          </p:nvSpPr>
          <p:spPr>
            <a:xfrm rot="20514076">
              <a:off x="1323245" y="1878150"/>
              <a:ext cx="3785064" cy="3814007"/>
            </a:xfrm>
            <a:prstGeom prst="rect">
              <a:avLst/>
            </a:prstGeom>
            <a:noFill/>
            <a:ln w="28575">
              <a:noFill/>
            </a:ln>
          </p:spPr>
          <p:txBody>
            <a:bodyPr wrap="square" lIns="109728" tIns="54864" rIns="109728" bIns="54864" rtlCol="0">
              <a:prstTxWarp prst="textArchUp">
                <a:avLst>
                  <a:gd name="adj" fmla="val 5811603"/>
                </a:avLst>
              </a:prstTxWarp>
              <a:spAutoFit/>
            </a:bodyPr>
            <a:lstStyle/>
            <a:p>
              <a:r>
                <a:rPr lang="en-US" sz="2000" b="1" dirty="0">
                  <a:solidFill>
                    <a:schemeClr val="bg1"/>
                  </a:solidFill>
                </a:rPr>
                <a:t>IDENTIFY LEADERS           INVEST &amp; DEVELOP             FORECAST VACANCIES       </a:t>
              </a:r>
            </a:p>
          </p:txBody>
        </p:sp>
      </p:grpSp>
    </p:spTree>
    <p:extLst>
      <p:ext uri="{BB962C8B-B14F-4D97-AF65-F5344CB8AC3E}">
        <p14:creationId xmlns:p14="http://schemas.microsoft.com/office/powerpoint/2010/main" val="17056680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220E93C-4A3D-4B9E-17E6-577EE2AC05AD}"/>
              </a:ext>
            </a:extLst>
          </p:cNvPr>
          <p:cNvGraphicFramePr>
            <a:graphicFrameLocks noChangeAspect="1"/>
          </p:cNvGraphicFramePr>
          <p:nvPr>
            <p:custDataLst>
              <p:tags r:id="rId1"/>
            </p:custDataLst>
            <p:extLst>
              <p:ext uri="{D42A27DB-BD31-4B8C-83A1-F6EECF244321}">
                <p14:modId xmlns:p14="http://schemas.microsoft.com/office/powerpoint/2010/main" val="2028048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6" name="think-cell data - do not delete" hidden="1">
                        <a:extLst>
                          <a:ext uri="{FF2B5EF4-FFF2-40B4-BE49-F238E27FC236}">
                            <a16:creationId xmlns:a16="http://schemas.microsoft.com/office/drawing/2014/main" id="{1220E93C-4A3D-4B9E-17E6-577EE2AC05A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D55B924-6DF2-5BFA-E803-A3F2CA1DC12B}"/>
              </a:ext>
            </a:extLst>
          </p:cNvPr>
          <p:cNvSpPr>
            <a:spLocks noGrp="1"/>
          </p:cNvSpPr>
          <p:nvPr>
            <p:ph type="title"/>
          </p:nvPr>
        </p:nvSpPr>
        <p:spPr>
          <a:xfrm>
            <a:off x="355600" y="237067"/>
            <a:ext cx="11125200" cy="350837"/>
          </a:xfrm>
        </p:spPr>
        <p:txBody>
          <a:bodyPr vert="horz"/>
          <a:lstStyle/>
          <a:p>
            <a:r>
              <a:rPr lang="en-US" dirty="0"/>
              <a:t>The second step is identifying the readiness of our Assistant Principals to step into the principal role. </a:t>
            </a:r>
            <a:endParaRPr lang="en-US" dirty="0">
              <a:solidFill>
                <a:schemeClr val="accent1"/>
              </a:solidFill>
            </a:endParaRPr>
          </a:p>
        </p:txBody>
      </p:sp>
      <p:grpSp>
        <p:nvGrpSpPr>
          <p:cNvPr id="21" name="Group 20">
            <a:extLst>
              <a:ext uri="{FF2B5EF4-FFF2-40B4-BE49-F238E27FC236}">
                <a16:creationId xmlns:a16="http://schemas.microsoft.com/office/drawing/2014/main" id="{4632B88A-0050-B9D1-03EF-AB03E2E3A28A}"/>
              </a:ext>
            </a:extLst>
          </p:cNvPr>
          <p:cNvGrpSpPr/>
          <p:nvPr/>
        </p:nvGrpSpPr>
        <p:grpSpPr>
          <a:xfrm>
            <a:off x="5794563" y="1544922"/>
            <a:ext cx="299226" cy="4689987"/>
            <a:chOff x="6869472" y="1715088"/>
            <a:chExt cx="299226" cy="4689987"/>
          </a:xfrm>
        </p:grpSpPr>
        <p:cxnSp>
          <p:nvCxnSpPr>
            <p:cNvPr id="22" name="LineContentSeparatorDefaultVertical 231">
              <a:extLst>
                <a:ext uri="{FF2B5EF4-FFF2-40B4-BE49-F238E27FC236}">
                  <a16:creationId xmlns:a16="http://schemas.microsoft.com/office/drawing/2014/main" id="{ADCCF644-8471-2598-3DB5-4BF549868DE8}"/>
                </a:ext>
              </a:extLst>
            </p:cNvPr>
            <p:cNvCxnSpPr>
              <a:cxnSpLocks/>
            </p:cNvCxnSpPr>
            <p:nvPr>
              <p:custDataLst>
                <p:tags r:id="rId5"/>
              </p:custDataLst>
            </p:nvPr>
          </p:nvCxnSpPr>
          <p:spPr>
            <a:xfrm>
              <a:off x="7019086" y="2182797"/>
              <a:ext cx="0" cy="4222278"/>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3" name="ChevronBlue 39">
              <a:extLst>
                <a:ext uri="{FF2B5EF4-FFF2-40B4-BE49-F238E27FC236}">
                  <a16:creationId xmlns:a16="http://schemas.microsoft.com/office/drawing/2014/main" id="{D0CD1A2E-EA58-F7DE-1384-61B83A0CC5CF}"/>
                </a:ext>
              </a:extLst>
            </p:cNvPr>
            <p:cNvGrpSpPr>
              <a:grpSpLocks noChangeAspect="1"/>
            </p:cNvGrpSpPr>
            <p:nvPr>
              <p:custDataLst>
                <p:tags r:id="rId6"/>
              </p:custDataLst>
            </p:nvPr>
          </p:nvGrpSpPr>
          <p:grpSpPr>
            <a:xfrm>
              <a:off x="6869472" y="1715088"/>
              <a:ext cx="299226" cy="299226"/>
              <a:chOff x="1016000" y="1016000"/>
              <a:chExt cx="396228" cy="396228"/>
            </a:xfrm>
            <a:solidFill>
              <a:srgbClr val="002E6D"/>
            </a:solidFill>
          </p:grpSpPr>
          <p:sp>
            <p:nvSpPr>
              <p:cNvPr id="24" name="Oval 23">
                <a:extLst>
                  <a:ext uri="{FF2B5EF4-FFF2-40B4-BE49-F238E27FC236}">
                    <a16:creationId xmlns:a16="http://schemas.microsoft.com/office/drawing/2014/main" id="{8204C566-88FC-0010-54CA-D6918E2FB18A}"/>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tx1"/>
                  </a:solidFill>
                </a:endParaRPr>
              </a:p>
            </p:txBody>
          </p:sp>
          <p:pic>
            <p:nvPicPr>
              <p:cNvPr id="25" name="Graphic 24">
                <a:extLst>
                  <a:ext uri="{FF2B5EF4-FFF2-40B4-BE49-F238E27FC236}">
                    <a16:creationId xmlns:a16="http://schemas.microsoft.com/office/drawing/2014/main" id="{076E65F8-2CE3-D19B-90D5-3167EA5890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23614" y="1023614"/>
                <a:ext cx="381000" cy="381000"/>
              </a:xfrm>
              <a:prstGeom prst="rect">
                <a:avLst/>
              </a:prstGeom>
            </p:spPr>
          </p:pic>
        </p:grpSp>
      </p:grpSp>
      <p:sp>
        <p:nvSpPr>
          <p:cNvPr id="27" name="TextBox 26">
            <a:extLst>
              <a:ext uri="{FF2B5EF4-FFF2-40B4-BE49-F238E27FC236}">
                <a16:creationId xmlns:a16="http://schemas.microsoft.com/office/drawing/2014/main" id="{73B0A776-B232-2CFE-E55D-D204E13E1509}"/>
              </a:ext>
            </a:extLst>
          </p:cNvPr>
          <p:cNvSpPr txBox="1">
            <a:spLocks/>
          </p:cNvSpPr>
          <p:nvPr/>
        </p:nvSpPr>
        <p:spPr>
          <a:xfrm>
            <a:off x="6613203" y="2252027"/>
            <a:ext cx="4094702" cy="331629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dirty="0"/>
              <a:t>When identifying leaders you should seek to answer three questions:</a:t>
            </a:r>
          </a:p>
          <a:p>
            <a:pPr>
              <a:buNone/>
            </a:pPr>
            <a:endParaRPr lang="en-US" sz="1800" dirty="0"/>
          </a:p>
          <a:p>
            <a:pPr lvl="1" indent="-228600">
              <a:buClr>
                <a:schemeClr val="accent1"/>
              </a:buClr>
              <a:buSzPct val="100000"/>
              <a:buFont typeface="Segoe UI" panose="020B0502040204020203" pitchFamily="34" charset="0"/>
              <a:buAutoNum type="arabicPeriod"/>
            </a:pPr>
            <a:r>
              <a:rPr lang="en-US" sz="1800" dirty="0"/>
              <a:t>How big is our bench of </a:t>
            </a:r>
            <a:r>
              <a:rPr lang="en-US" sz="1800" b="1" dirty="0"/>
              <a:t>qualified</a:t>
            </a:r>
            <a:r>
              <a:rPr lang="en-US" sz="1800" dirty="0"/>
              <a:t> applicants?</a:t>
            </a:r>
          </a:p>
          <a:p>
            <a:pPr lvl="1" indent="-228600">
              <a:buClr>
                <a:schemeClr val="accent1"/>
              </a:buClr>
              <a:buSzPct val="100000"/>
              <a:buFont typeface="Segoe UI" panose="020B0502040204020203" pitchFamily="34" charset="0"/>
              <a:buAutoNum type="arabicPeriod"/>
            </a:pPr>
            <a:endParaRPr lang="en-US" sz="1800" dirty="0"/>
          </a:p>
          <a:p>
            <a:pPr lvl="1" indent="-228600">
              <a:buClr>
                <a:schemeClr val="accent1"/>
              </a:buClr>
              <a:buSzPct val="100000"/>
              <a:buFont typeface="Segoe UI" panose="020B0502040204020203" pitchFamily="34" charset="0"/>
              <a:buAutoNum type="arabicPeriod"/>
            </a:pPr>
            <a:r>
              <a:rPr lang="en-US" sz="1800" dirty="0"/>
              <a:t>Who has </a:t>
            </a:r>
            <a:r>
              <a:rPr lang="en-US" sz="1800" b="1" dirty="0"/>
              <a:t>high potential </a:t>
            </a:r>
            <a:r>
              <a:rPr lang="en-US" sz="1800" dirty="0"/>
              <a:t>to be successful as a principal with some focused development?</a:t>
            </a:r>
          </a:p>
          <a:p>
            <a:pPr lvl="1" indent="-228600">
              <a:buClr>
                <a:schemeClr val="accent1"/>
              </a:buClr>
              <a:buSzPct val="100000"/>
              <a:buFont typeface="Segoe UI" panose="020B0502040204020203" pitchFamily="34" charset="0"/>
              <a:buAutoNum type="arabicPeriod"/>
            </a:pPr>
            <a:endParaRPr lang="en-US" sz="1800" dirty="0"/>
          </a:p>
          <a:p>
            <a:pPr lvl="1" indent="-228600">
              <a:buClr>
                <a:schemeClr val="accent1"/>
              </a:buClr>
              <a:buSzPct val="100000"/>
              <a:buFont typeface="Segoe UI" panose="020B0502040204020203" pitchFamily="34" charset="0"/>
              <a:buAutoNum type="arabicPeriod"/>
            </a:pPr>
            <a:r>
              <a:rPr lang="en-US" sz="1800" dirty="0"/>
              <a:t>Who </a:t>
            </a:r>
            <a:r>
              <a:rPr lang="en-US" sz="1800" b="1" dirty="0"/>
              <a:t>aspires</a:t>
            </a:r>
            <a:r>
              <a:rPr lang="en-US" sz="1800" dirty="0"/>
              <a:t> to be a principal?</a:t>
            </a:r>
          </a:p>
        </p:txBody>
      </p:sp>
      <p:grpSp>
        <p:nvGrpSpPr>
          <p:cNvPr id="3" name="Group 2">
            <a:extLst>
              <a:ext uri="{FF2B5EF4-FFF2-40B4-BE49-F238E27FC236}">
                <a16:creationId xmlns:a16="http://schemas.microsoft.com/office/drawing/2014/main" id="{C3762D99-5757-4112-327A-B20623083E56}"/>
              </a:ext>
            </a:extLst>
          </p:cNvPr>
          <p:cNvGrpSpPr/>
          <p:nvPr/>
        </p:nvGrpSpPr>
        <p:grpSpPr>
          <a:xfrm>
            <a:off x="772085" y="1021175"/>
            <a:ext cx="4450503" cy="4363079"/>
            <a:chOff x="541641" y="571912"/>
            <a:chExt cx="5698201" cy="5586266"/>
          </a:xfrm>
        </p:grpSpPr>
        <p:sp>
          <p:nvSpPr>
            <p:cNvPr id="5" name="Freeform 3">
              <a:extLst>
                <a:ext uri="{FF2B5EF4-FFF2-40B4-BE49-F238E27FC236}">
                  <a16:creationId xmlns:a16="http://schemas.microsoft.com/office/drawing/2014/main" id="{D37515A9-5737-A5FB-45A7-159CA595B64B}"/>
                </a:ext>
              </a:extLst>
            </p:cNvPr>
            <p:cNvSpPr>
              <a:spLocks/>
            </p:cNvSpPr>
            <p:nvPr>
              <p:custDataLst>
                <p:tags r:id="rId2"/>
              </p:custDataLst>
            </p:nvPr>
          </p:nvSpPr>
          <p:spPr bwMode="auto">
            <a:xfrm rot="2315660">
              <a:off x="1295060" y="571912"/>
              <a:ext cx="2062496" cy="4156911"/>
            </a:xfrm>
            <a:custGeom>
              <a:avLst/>
              <a:gdLst>
                <a:gd name="T0" fmla="*/ 390 w 534"/>
                <a:gd name="T1" fmla="*/ 860 h 1099"/>
                <a:gd name="T2" fmla="*/ 375 w 534"/>
                <a:gd name="T3" fmla="*/ 840 h 1099"/>
                <a:gd name="T4" fmla="*/ 361 w 534"/>
                <a:gd name="T5" fmla="*/ 819 h 1099"/>
                <a:gd name="T6" fmla="*/ 349 w 534"/>
                <a:gd name="T7" fmla="*/ 797 h 1099"/>
                <a:gd name="T8" fmla="*/ 340 w 534"/>
                <a:gd name="T9" fmla="*/ 774 h 1099"/>
                <a:gd name="T10" fmla="*/ 332 w 534"/>
                <a:gd name="T11" fmla="*/ 751 h 1099"/>
                <a:gd name="T12" fmla="*/ 326 w 534"/>
                <a:gd name="T13" fmla="*/ 727 h 1099"/>
                <a:gd name="T14" fmla="*/ 321 w 534"/>
                <a:gd name="T15" fmla="*/ 702 h 1099"/>
                <a:gd name="T16" fmla="*/ 319 w 534"/>
                <a:gd name="T17" fmla="*/ 678 h 1099"/>
                <a:gd name="T18" fmla="*/ 319 w 534"/>
                <a:gd name="T19" fmla="*/ 653 h 1099"/>
                <a:gd name="T20" fmla="*/ 320 w 534"/>
                <a:gd name="T21" fmla="*/ 628 h 1099"/>
                <a:gd name="T22" fmla="*/ 324 w 534"/>
                <a:gd name="T23" fmla="*/ 603 h 1099"/>
                <a:gd name="T24" fmla="*/ 330 w 534"/>
                <a:gd name="T25" fmla="*/ 579 h 1099"/>
                <a:gd name="T26" fmla="*/ 337 w 534"/>
                <a:gd name="T27" fmla="*/ 554 h 1099"/>
                <a:gd name="T28" fmla="*/ 347 w 534"/>
                <a:gd name="T29" fmla="*/ 530 h 1099"/>
                <a:gd name="T30" fmla="*/ 359 w 534"/>
                <a:gd name="T31" fmla="*/ 507 h 1099"/>
                <a:gd name="T32" fmla="*/ 371 w 534"/>
                <a:gd name="T33" fmla="*/ 488 h 1099"/>
                <a:gd name="T34" fmla="*/ 383 w 534"/>
                <a:gd name="T35" fmla="*/ 472 h 1099"/>
                <a:gd name="T36" fmla="*/ 395 w 534"/>
                <a:gd name="T37" fmla="*/ 457 h 1099"/>
                <a:gd name="T38" fmla="*/ 408 w 534"/>
                <a:gd name="T39" fmla="*/ 443 h 1099"/>
                <a:gd name="T40" fmla="*/ 421 w 534"/>
                <a:gd name="T41" fmla="*/ 430 h 1099"/>
                <a:gd name="T42" fmla="*/ 435 w 534"/>
                <a:gd name="T43" fmla="*/ 418 h 1099"/>
                <a:gd name="T44" fmla="*/ 450 w 534"/>
                <a:gd name="T45" fmla="*/ 406 h 1099"/>
                <a:gd name="T46" fmla="*/ 465 w 534"/>
                <a:gd name="T47" fmla="*/ 396 h 1099"/>
                <a:gd name="T48" fmla="*/ 504 w 534"/>
                <a:gd name="T49" fmla="*/ 454 h 1099"/>
                <a:gd name="T50" fmla="*/ 329 w 534"/>
                <a:gd name="T51" fmla="*/ 0 h 1099"/>
                <a:gd name="T52" fmla="*/ 344 w 534"/>
                <a:gd name="T53" fmla="*/ 89 h 1099"/>
                <a:gd name="T54" fmla="*/ 305 w 534"/>
                <a:gd name="T55" fmla="*/ 111 h 1099"/>
                <a:gd name="T56" fmla="*/ 267 w 534"/>
                <a:gd name="T57" fmla="*/ 136 h 1099"/>
                <a:gd name="T58" fmla="*/ 231 w 534"/>
                <a:gd name="T59" fmla="*/ 164 h 1099"/>
                <a:gd name="T60" fmla="*/ 197 w 534"/>
                <a:gd name="T61" fmla="*/ 196 h 1099"/>
                <a:gd name="T62" fmla="*/ 165 w 534"/>
                <a:gd name="T63" fmla="*/ 229 h 1099"/>
                <a:gd name="T64" fmla="*/ 134 w 534"/>
                <a:gd name="T65" fmla="*/ 265 h 1099"/>
                <a:gd name="T66" fmla="*/ 107 w 534"/>
                <a:gd name="T67" fmla="*/ 303 h 1099"/>
                <a:gd name="T68" fmla="*/ 80 w 534"/>
                <a:gd name="T69" fmla="*/ 347 h 1099"/>
                <a:gd name="T70" fmla="*/ 55 w 534"/>
                <a:gd name="T71" fmla="*/ 395 h 1099"/>
                <a:gd name="T72" fmla="*/ 35 w 534"/>
                <a:gd name="T73" fmla="*/ 445 h 1099"/>
                <a:gd name="T74" fmla="*/ 20 w 534"/>
                <a:gd name="T75" fmla="*/ 496 h 1099"/>
                <a:gd name="T76" fmla="*/ 9 w 534"/>
                <a:gd name="T77" fmla="*/ 547 h 1099"/>
                <a:gd name="T78" fmla="*/ 2 w 534"/>
                <a:gd name="T79" fmla="*/ 599 h 1099"/>
                <a:gd name="T80" fmla="*/ 0 w 534"/>
                <a:gd name="T81" fmla="*/ 651 h 1099"/>
                <a:gd name="T82" fmla="*/ 2 w 534"/>
                <a:gd name="T83" fmla="*/ 702 h 1099"/>
                <a:gd name="T84" fmla="*/ 9 w 534"/>
                <a:gd name="T85" fmla="*/ 754 h 1099"/>
                <a:gd name="T86" fmla="*/ 19 w 534"/>
                <a:gd name="T87" fmla="*/ 804 h 1099"/>
                <a:gd name="T88" fmla="*/ 34 w 534"/>
                <a:gd name="T89" fmla="*/ 854 h 1099"/>
                <a:gd name="T90" fmla="*/ 52 w 534"/>
                <a:gd name="T91" fmla="*/ 903 h 1099"/>
                <a:gd name="T92" fmla="*/ 75 w 534"/>
                <a:gd name="T93" fmla="*/ 950 h 1099"/>
                <a:gd name="T94" fmla="*/ 102 w 534"/>
                <a:gd name="T95" fmla="*/ 995 h 1099"/>
                <a:gd name="T96" fmla="*/ 132 w 534"/>
                <a:gd name="T97" fmla="*/ 1039 h 1099"/>
                <a:gd name="T98" fmla="*/ 166 w 534"/>
                <a:gd name="T99" fmla="*/ 1080 h 1099"/>
                <a:gd name="T100" fmla="*/ 230 w 534"/>
                <a:gd name="T101" fmla="*/ 935 h 1099"/>
                <a:gd name="T102" fmla="*/ 398 w 534"/>
                <a:gd name="T103" fmla="*/ 870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4" h="1099">
                  <a:moveTo>
                    <a:pt x="398" y="870"/>
                  </a:moveTo>
                  <a:lnTo>
                    <a:pt x="390" y="860"/>
                  </a:lnTo>
                  <a:lnTo>
                    <a:pt x="382" y="850"/>
                  </a:lnTo>
                  <a:lnTo>
                    <a:pt x="375" y="840"/>
                  </a:lnTo>
                  <a:lnTo>
                    <a:pt x="368" y="830"/>
                  </a:lnTo>
                  <a:lnTo>
                    <a:pt x="361" y="819"/>
                  </a:lnTo>
                  <a:lnTo>
                    <a:pt x="355" y="808"/>
                  </a:lnTo>
                  <a:lnTo>
                    <a:pt x="349" y="797"/>
                  </a:lnTo>
                  <a:lnTo>
                    <a:pt x="344" y="786"/>
                  </a:lnTo>
                  <a:lnTo>
                    <a:pt x="340" y="774"/>
                  </a:lnTo>
                  <a:lnTo>
                    <a:pt x="335" y="763"/>
                  </a:lnTo>
                  <a:lnTo>
                    <a:pt x="332" y="751"/>
                  </a:lnTo>
                  <a:lnTo>
                    <a:pt x="328" y="739"/>
                  </a:lnTo>
                  <a:lnTo>
                    <a:pt x="326" y="727"/>
                  </a:lnTo>
                  <a:lnTo>
                    <a:pt x="323" y="715"/>
                  </a:lnTo>
                  <a:lnTo>
                    <a:pt x="321" y="702"/>
                  </a:lnTo>
                  <a:lnTo>
                    <a:pt x="320" y="690"/>
                  </a:lnTo>
                  <a:lnTo>
                    <a:pt x="319" y="678"/>
                  </a:lnTo>
                  <a:lnTo>
                    <a:pt x="319" y="665"/>
                  </a:lnTo>
                  <a:lnTo>
                    <a:pt x="319" y="653"/>
                  </a:lnTo>
                  <a:lnTo>
                    <a:pt x="319" y="640"/>
                  </a:lnTo>
                  <a:lnTo>
                    <a:pt x="320" y="628"/>
                  </a:lnTo>
                  <a:lnTo>
                    <a:pt x="322" y="616"/>
                  </a:lnTo>
                  <a:lnTo>
                    <a:pt x="324" y="603"/>
                  </a:lnTo>
                  <a:lnTo>
                    <a:pt x="327" y="591"/>
                  </a:lnTo>
                  <a:lnTo>
                    <a:pt x="330" y="579"/>
                  </a:lnTo>
                  <a:lnTo>
                    <a:pt x="333" y="566"/>
                  </a:lnTo>
                  <a:lnTo>
                    <a:pt x="337" y="554"/>
                  </a:lnTo>
                  <a:lnTo>
                    <a:pt x="342" y="542"/>
                  </a:lnTo>
                  <a:lnTo>
                    <a:pt x="347" y="530"/>
                  </a:lnTo>
                  <a:lnTo>
                    <a:pt x="353" y="519"/>
                  </a:lnTo>
                  <a:lnTo>
                    <a:pt x="359" y="507"/>
                  </a:lnTo>
                  <a:lnTo>
                    <a:pt x="366" y="496"/>
                  </a:lnTo>
                  <a:lnTo>
                    <a:pt x="371" y="488"/>
                  </a:lnTo>
                  <a:lnTo>
                    <a:pt x="377" y="480"/>
                  </a:lnTo>
                  <a:lnTo>
                    <a:pt x="383" y="472"/>
                  </a:lnTo>
                  <a:lnTo>
                    <a:pt x="389" y="464"/>
                  </a:lnTo>
                  <a:lnTo>
                    <a:pt x="395" y="457"/>
                  </a:lnTo>
                  <a:lnTo>
                    <a:pt x="401" y="450"/>
                  </a:lnTo>
                  <a:lnTo>
                    <a:pt x="408" y="443"/>
                  </a:lnTo>
                  <a:lnTo>
                    <a:pt x="414" y="436"/>
                  </a:lnTo>
                  <a:lnTo>
                    <a:pt x="421" y="430"/>
                  </a:lnTo>
                  <a:lnTo>
                    <a:pt x="428" y="424"/>
                  </a:lnTo>
                  <a:lnTo>
                    <a:pt x="435" y="418"/>
                  </a:lnTo>
                  <a:lnTo>
                    <a:pt x="443" y="412"/>
                  </a:lnTo>
                  <a:lnTo>
                    <a:pt x="450" y="406"/>
                  </a:lnTo>
                  <a:lnTo>
                    <a:pt x="458" y="401"/>
                  </a:lnTo>
                  <a:lnTo>
                    <a:pt x="465" y="396"/>
                  </a:lnTo>
                  <a:lnTo>
                    <a:pt x="473" y="391"/>
                  </a:lnTo>
                  <a:lnTo>
                    <a:pt x="504" y="454"/>
                  </a:lnTo>
                  <a:lnTo>
                    <a:pt x="534" y="185"/>
                  </a:lnTo>
                  <a:lnTo>
                    <a:pt x="329" y="0"/>
                  </a:lnTo>
                  <a:lnTo>
                    <a:pt x="363" y="79"/>
                  </a:lnTo>
                  <a:lnTo>
                    <a:pt x="344" y="89"/>
                  </a:lnTo>
                  <a:lnTo>
                    <a:pt x="324" y="99"/>
                  </a:lnTo>
                  <a:lnTo>
                    <a:pt x="305" y="111"/>
                  </a:lnTo>
                  <a:lnTo>
                    <a:pt x="286" y="123"/>
                  </a:lnTo>
                  <a:lnTo>
                    <a:pt x="267" y="136"/>
                  </a:lnTo>
                  <a:lnTo>
                    <a:pt x="249" y="150"/>
                  </a:lnTo>
                  <a:lnTo>
                    <a:pt x="231" y="164"/>
                  </a:lnTo>
                  <a:lnTo>
                    <a:pt x="214" y="180"/>
                  </a:lnTo>
                  <a:lnTo>
                    <a:pt x="197" y="196"/>
                  </a:lnTo>
                  <a:lnTo>
                    <a:pt x="180" y="212"/>
                  </a:lnTo>
                  <a:lnTo>
                    <a:pt x="165" y="229"/>
                  </a:lnTo>
                  <a:lnTo>
                    <a:pt x="149" y="247"/>
                  </a:lnTo>
                  <a:lnTo>
                    <a:pt x="134" y="265"/>
                  </a:lnTo>
                  <a:lnTo>
                    <a:pt x="120" y="284"/>
                  </a:lnTo>
                  <a:lnTo>
                    <a:pt x="107" y="303"/>
                  </a:lnTo>
                  <a:lnTo>
                    <a:pt x="94" y="323"/>
                  </a:lnTo>
                  <a:lnTo>
                    <a:pt x="80" y="347"/>
                  </a:lnTo>
                  <a:lnTo>
                    <a:pt x="67" y="371"/>
                  </a:lnTo>
                  <a:lnTo>
                    <a:pt x="55" y="395"/>
                  </a:lnTo>
                  <a:lnTo>
                    <a:pt x="45" y="420"/>
                  </a:lnTo>
                  <a:lnTo>
                    <a:pt x="35" y="445"/>
                  </a:lnTo>
                  <a:lnTo>
                    <a:pt x="27" y="470"/>
                  </a:lnTo>
                  <a:lnTo>
                    <a:pt x="20" y="496"/>
                  </a:lnTo>
                  <a:lnTo>
                    <a:pt x="14" y="521"/>
                  </a:lnTo>
                  <a:lnTo>
                    <a:pt x="9" y="547"/>
                  </a:lnTo>
                  <a:lnTo>
                    <a:pt x="5" y="573"/>
                  </a:lnTo>
                  <a:lnTo>
                    <a:pt x="2" y="599"/>
                  </a:lnTo>
                  <a:lnTo>
                    <a:pt x="1" y="625"/>
                  </a:lnTo>
                  <a:lnTo>
                    <a:pt x="0" y="651"/>
                  </a:lnTo>
                  <a:lnTo>
                    <a:pt x="1" y="676"/>
                  </a:lnTo>
                  <a:lnTo>
                    <a:pt x="2" y="702"/>
                  </a:lnTo>
                  <a:lnTo>
                    <a:pt x="5" y="728"/>
                  </a:lnTo>
                  <a:lnTo>
                    <a:pt x="9" y="754"/>
                  </a:lnTo>
                  <a:lnTo>
                    <a:pt x="13" y="779"/>
                  </a:lnTo>
                  <a:lnTo>
                    <a:pt x="19" y="804"/>
                  </a:lnTo>
                  <a:lnTo>
                    <a:pt x="26" y="830"/>
                  </a:lnTo>
                  <a:lnTo>
                    <a:pt x="34" y="854"/>
                  </a:lnTo>
                  <a:lnTo>
                    <a:pt x="43" y="879"/>
                  </a:lnTo>
                  <a:lnTo>
                    <a:pt x="52" y="903"/>
                  </a:lnTo>
                  <a:lnTo>
                    <a:pt x="63" y="927"/>
                  </a:lnTo>
                  <a:lnTo>
                    <a:pt x="75" y="950"/>
                  </a:lnTo>
                  <a:lnTo>
                    <a:pt x="88" y="973"/>
                  </a:lnTo>
                  <a:lnTo>
                    <a:pt x="102" y="995"/>
                  </a:lnTo>
                  <a:lnTo>
                    <a:pt x="116" y="1017"/>
                  </a:lnTo>
                  <a:lnTo>
                    <a:pt x="132" y="1039"/>
                  </a:lnTo>
                  <a:lnTo>
                    <a:pt x="149" y="1060"/>
                  </a:lnTo>
                  <a:lnTo>
                    <a:pt x="166" y="1080"/>
                  </a:lnTo>
                  <a:lnTo>
                    <a:pt x="185" y="1099"/>
                  </a:lnTo>
                  <a:lnTo>
                    <a:pt x="230" y="935"/>
                  </a:lnTo>
                  <a:lnTo>
                    <a:pt x="398" y="870"/>
                  </a:lnTo>
                  <a:lnTo>
                    <a:pt x="398" y="870"/>
                  </a:lnTo>
                  <a:close/>
                </a:path>
              </a:pathLst>
            </a:custGeom>
            <a:solidFill>
              <a:schemeClr val="bg1">
                <a:lumMod val="85000"/>
              </a:schemeClr>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8" name="Freeform 5">
              <a:extLst>
                <a:ext uri="{FF2B5EF4-FFF2-40B4-BE49-F238E27FC236}">
                  <a16:creationId xmlns:a16="http://schemas.microsoft.com/office/drawing/2014/main" id="{350BAEE5-3937-1D40-17B3-4F69FEAC3E76}"/>
                </a:ext>
              </a:extLst>
            </p:cNvPr>
            <p:cNvSpPr>
              <a:spLocks/>
            </p:cNvSpPr>
            <p:nvPr>
              <p:custDataLst>
                <p:tags r:id="rId3"/>
              </p:custDataLst>
            </p:nvPr>
          </p:nvSpPr>
          <p:spPr bwMode="auto">
            <a:xfrm rot="2315660">
              <a:off x="541641" y="4153153"/>
              <a:ext cx="4022822" cy="2005025"/>
            </a:xfrm>
            <a:custGeom>
              <a:avLst/>
              <a:gdLst>
                <a:gd name="T0" fmla="*/ 730 w 1037"/>
                <a:gd name="T1" fmla="*/ 11 h 526"/>
                <a:gd name="T2" fmla="*/ 719 w 1037"/>
                <a:gd name="T3" fmla="*/ 34 h 526"/>
                <a:gd name="T4" fmla="*/ 707 w 1037"/>
                <a:gd name="T5" fmla="*/ 56 h 526"/>
                <a:gd name="T6" fmla="*/ 693 w 1037"/>
                <a:gd name="T7" fmla="*/ 77 h 526"/>
                <a:gd name="T8" fmla="*/ 678 w 1037"/>
                <a:gd name="T9" fmla="*/ 96 h 526"/>
                <a:gd name="T10" fmla="*/ 661 w 1037"/>
                <a:gd name="T11" fmla="*/ 114 h 526"/>
                <a:gd name="T12" fmla="*/ 642 w 1037"/>
                <a:gd name="T13" fmla="*/ 131 h 526"/>
                <a:gd name="T14" fmla="*/ 623 w 1037"/>
                <a:gd name="T15" fmla="*/ 146 h 526"/>
                <a:gd name="T16" fmla="*/ 602 w 1037"/>
                <a:gd name="T17" fmla="*/ 160 h 526"/>
                <a:gd name="T18" fmla="*/ 580 w 1037"/>
                <a:gd name="T19" fmla="*/ 172 h 526"/>
                <a:gd name="T20" fmla="*/ 558 w 1037"/>
                <a:gd name="T21" fmla="*/ 182 h 526"/>
                <a:gd name="T22" fmla="*/ 534 w 1037"/>
                <a:gd name="T23" fmla="*/ 190 h 526"/>
                <a:gd name="T24" fmla="*/ 510 w 1037"/>
                <a:gd name="T25" fmla="*/ 197 h 526"/>
                <a:gd name="T26" fmla="*/ 484 w 1037"/>
                <a:gd name="T27" fmla="*/ 201 h 526"/>
                <a:gd name="T28" fmla="*/ 459 w 1037"/>
                <a:gd name="T29" fmla="*/ 204 h 526"/>
                <a:gd name="T30" fmla="*/ 432 w 1037"/>
                <a:gd name="T31" fmla="*/ 204 h 526"/>
                <a:gd name="T32" fmla="*/ 410 w 1037"/>
                <a:gd name="T33" fmla="*/ 203 h 526"/>
                <a:gd name="T34" fmla="*/ 391 w 1037"/>
                <a:gd name="T35" fmla="*/ 200 h 526"/>
                <a:gd name="T36" fmla="*/ 372 w 1037"/>
                <a:gd name="T37" fmla="*/ 196 h 526"/>
                <a:gd name="T38" fmla="*/ 353 w 1037"/>
                <a:gd name="T39" fmla="*/ 192 h 526"/>
                <a:gd name="T40" fmla="*/ 335 w 1037"/>
                <a:gd name="T41" fmla="*/ 186 h 526"/>
                <a:gd name="T42" fmla="*/ 318 w 1037"/>
                <a:gd name="T43" fmla="*/ 179 h 526"/>
                <a:gd name="T44" fmla="*/ 301 w 1037"/>
                <a:gd name="T45" fmla="*/ 171 h 526"/>
                <a:gd name="T46" fmla="*/ 285 w 1037"/>
                <a:gd name="T47" fmla="*/ 163 h 526"/>
                <a:gd name="T48" fmla="*/ 318 w 1037"/>
                <a:gd name="T49" fmla="*/ 101 h 526"/>
                <a:gd name="T50" fmla="*/ 0 w 1037"/>
                <a:gd name="T51" fmla="*/ 469 h 526"/>
                <a:gd name="T52" fmla="*/ 71 w 1037"/>
                <a:gd name="T53" fmla="*/ 414 h 526"/>
                <a:gd name="T54" fmla="*/ 108 w 1037"/>
                <a:gd name="T55" fmla="*/ 438 h 526"/>
                <a:gd name="T56" fmla="*/ 148 w 1037"/>
                <a:gd name="T57" fmla="*/ 460 h 526"/>
                <a:gd name="T58" fmla="*/ 190 w 1037"/>
                <a:gd name="T59" fmla="*/ 478 h 526"/>
                <a:gd name="T60" fmla="*/ 234 w 1037"/>
                <a:gd name="T61" fmla="*/ 494 h 526"/>
                <a:gd name="T62" fmla="*/ 279 w 1037"/>
                <a:gd name="T63" fmla="*/ 507 h 526"/>
                <a:gd name="T64" fmla="*/ 325 w 1037"/>
                <a:gd name="T65" fmla="*/ 516 h 526"/>
                <a:gd name="T66" fmla="*/ 371 w 1037"/>
                <a:gd name="T67" fmla="*/ 523 h 526"/>
                <a:gd name="T68" fmla="*/ 422 w 1037"/>
                <a:gd name="T69" fmla="*/ 526 h 526"/>
                <a:gd name="T70" fmla="*/ 476 w 1037"/>
                <a:gd name="T71" fmla="*/ 525 h 526"/>
                <a:gd name="T72" fmla="*/ 530 w 1037"/>
                <a:gd name="T73" fmla="*/ 519 h 526"/>
                <a:gd name="T74" fmla="*/ 582 w 1037"/>
                <a:gd name="T75" fmla="*/ 509 h 526"/>
                <a:gd name="T76" fmla="*/ 632 w 1037"/>
                <a:gd name="T77" fmla="*/ 495 h 526"/>
                <a:gd name="T78" fmla="*/ 681 w 1037"/>
                <a:gd name="T79" fmla="*/ 476 h 526"/>
                <a:gd name="T80" fmla="*/ 728 w 1037"/>
                <a:gd name="T81" fmla="*/ 454 h 526"/>
                <a:gd name="T82" fmla="*/ 773 w 1037"/>
                <a:gd name="T83" fmla="*/ 428 h 526"/>
                <a:gd name="T84" fmla="*/ 815 w 1037"/>
                <a:gd name="T85" fmla="*/ 398 h 526"/>
                <a:gd name="T86" fmla="*/ 855 w 1037"/>
                <a:gd name="T87" fmla="*/ 365 h 526"/>
                <a:gd name="T88" fmla="*/ 892 w 1037"/>
                <a:gd name="T89" fmla="*/ 329 h 526"/>
                <a:gd name="T90" fmla="*/ 926 w 1037"/>
                <a:gd name="T91" fmla="*/ 289 h 526"/>
                <a:gd name="T92" fmla="*/ 957 w 1037"/>
                <a:gd name="T93" fmla="*/ 247 h 526"/>
                <a:gd name="T94" fmla="*/ 985 w 1037"/>
                <a:gd name="T95" fmla="*/ 202 h 526"/>
                <a:gd name="T96" fmla="*/ 1009 w 1037"/>
                <a:gd name="T97" fmla="*/ 155 h 526"/>
                <a:gd name="T98" fmla="*/ 1029 w 1037"/>
                <a:gd name="T99" fmla="*/ 106 h 526"/>
                <a:gd name="T100" fmla="*/ 872 w 1037"/>
                <a:gd name="T101" fmla="*/ 117 h 526"/>
                <a:gd name="T102" fmla="*/ 735 w 1037"/>
                <a:gd name="T103"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7" h="526">
                  <a:moveTo>
                    <a:pt x="735" y="0"/>
                  </a:moveTo>
                  <a:lnTo>
                    <a:pt x="730" y="11"/>
                  </a:lnTo>
                  <a:lnTo>
                    <a:pt x="725" y="23"/>
                  </a:lnTo>
                  <a:lnTo>
                    <a:pt x="719" y="34"/>
                  </a:lnTo>
                  <a:lnTo>
                    <a:pt x="713" y="45"/>
                  </a:lnTo>
                  <a:lnTo>
                    <a:pt x="707" y="56"/>
                  </a:lnTo>
                  <a:lnTo>
                    <a:pt x="700" y="67"/>
                  </a:lnTo>
                  <a:lnTo>
                    <a:pt x="693" y="77"/>
                  </a:lnTo>
                  <a:lnTo>
                    <a:pt x="686" y="87"/>
                  </a:lnTo>
                  <a:lnTo>
                    <a:pt x="678" y="96"/>
                  </a:lnTo>
                  <a:lnTo>
                    <a:pt x="669" y="105"/>
                  </a:lnTo>
                  <a:lnTo>
                    <a:pt x="661" y="114"/>
                  </a:lnTo>
                  <a:lnTo>
                    <a:pt x="652" y="123"/>
                  </a:lnTo>
                  <a:lnTo>
                    <a:pt x="642" y="131"/>
                  </a:lnTo>
                  <a:lnTo>
                    <a:pt x="633" y="139"/>
                  </a:lnTo>
                  <a:lnTo>
                    <a:pt x="623" y="146"/>
                  </a:lnTo>
                  <a:lnTo>
                    <a:pt x="613" y="153"/>
                  </a:lnTo>
                  <a:lnTo>
                    <a:pt x="602" y="160"/>
                  </a:lnTo>
                  <a:lnTo>
                    <a:pt x="591" y="166"/>
                  </a:lnTo>
                  <a:lnTo>
                    <a:pt x="580" y="172"/>
                  </a:lnTo>
                  <a:lnTo>
                    <a:pt x="569" y="177"/>
                  </a:lnTo>
                  <a:lnTo>
                    <a:pt x="558" y="182"/>
                  </a:lnTo>
                  <a:lnTo>
                    <a:pt x="546" y="186"/>
                  </a:lnTo>
                  <a:lnTo>
                    <a:pt x="534" y="190"/>
                  </a:lnTo>
                  <a:lnTo>
                    <a:pt x="522" y="194"/>
                  </a:lnTo>
                  <a:lnTo>
                    <a:pt x="510" y="197"/>
                  </a:lnTo>
                  <a:lnTo>
                    <a:pt x="497" y="199"/>
                  </a:lnTo>
                  <a:lnTo>
                    <a:pt x="484" y="201"/>
                  </a:lnTo>
                  <a:lnTo>
                    <a:pt x="472" y="203"/>
                  </a:lnTo>
                  <a:lnTo>
                    <a:pt x="459" y="204"/>
                  </a:lnTo>
                  <a:lnTo>
                    <a:pt x="446" y="204"/>
                  </a:lnTo>
                  <a:lnTo>
                    <a:pt x="432" y="204"/>
                  </a:lnTo>
                  <a:lnTo>
                    <a:pt x="419" y="203"/>
                  </a:lnTo>
                  <a:lnTo>
                    <a:pt x="410" y="203"/>
                  </a:lnTo>
                  <a:lnTo>
                    <a:pt x="400" y="201"/>
                  </a:lnTo>
                  <a:lnTo>
                    <a:pt x="391" y="200"/>
                  </a:lnTo>
                  <a:lnTo>
                    <a:pt x="381" y="198"/>
                  </a:lnTo>
                  <a:lnTo>
                    <a:pt x="372" y="196"/>
                  </a:lnTo>
                  <a:lnTo>
                    <a:pt x="363" y="194"/>
                  </a:lnTo>
                  <a:lnTo>
                    <a:pt x="353" y="192"/>
                  </a:lnTo>
                  <a:lnTo>
                    <a:pt x="344" y="189"/>
                  </a:lnTo>
                  <a:lnTo>
                    <a:pt x="335" y="186"/>
                  </a:lnTo>
                  <a:lnTo>
                    <a:pt x="327" y="182"/>
                  </a:lnTo>
                  <a:lnTo>
                    <a:pt x="318" y="179"/>
                  </a:lnTo>
                  <a:lnTo>
                    <a:pt x="309" y="175"/>
                  </a:lnTo>
                  <a:lnTo>
                    <a:pt x="301" y="171"/>
                  </a:lnTo>
                  <a:lnTo>
                    <a:pt x="293" y="167"/>
                  </a:lnTo>
                  <a:lnTo>
                    <a:pt x="285" y="163"/>
                  </a:lnTo>
                  <a:lnTo>
                    <a:pt x="277" y="158"/>
                  </a:lnTo>
                  <a:lnTo>
                    <a:pt x="318" y="101"/>
                  </a:lnTo>
                  <a:lnTo>
                    <a:pt x="67" y="201"/>
                  </a:lnTo>
                  <a:lnTo>
                    <a:pt x="0" y="469"/>
                  </a:lnTo>
                  <a:lnTo>
                    <a:pt x="53" y="401"/>
                  </a:lnTo>
                  <a:lnTo>
                    <a:pt x="71" y="414"/>
                  </a:lnTo>
                  <a:lnTo>
                    <a:pt x="89" y="427"/>
                  </a:lnTo>
                  <a:lnTo>
                    <a:pt x="108" y="438"/>
                  </a:lnTo>
                  <a:lnTo>
                    <a:pt x="128" y="449"/>
                  </a:lnTo>
                  <a:lnTo>
                    <a:pt x="148" y="460"/>
                  </a:lnTo>
                  <a:lnTo>
                    <a:pt x="169" y="469"/>
                  </a:lnTo>
                  <a:lnTo>
                    <a:pt x="190" y="478"/>
                  </a:lnTo>
                  <a:lnTo>
                    <a:pt x="212" y="486"/>
                  </a:lnTo>
                  <a:lnTo>
                    <a:pt x="234" y="494"/>
                  </a:lnTo>
                  <a:lnTo>
                    <a:pt x="256" y="501"/>
                  </a:lnTo>
                  <a:lnTo>
                    <a:pt x="279" y="507"/>
                  </a:lnTo>
                  <a:lnTo>
                    <a:pt x="302" y="512"/>
                  </a:lnTo>
                  <a:lnTo>
                    <a:pt x="325" y="516"/>
                  </a:lnTo>
                  <a:lnTo>
                    <a:pt x="348" y="520"/>
                  </a:lnTo>
                  <a:lnTo>
                    <a:pt x="371" y="523"/>
                  </a:lnTo>
                  <a:lnTo>
                    <a:pt x="395" y="525"/>
                  </a:lnTo>
                  <a:lnTo>
                    <a:pt x="422" y="526"/>
                  </a:lnTo>
                  <a:lnTo>
                    <a:pt x="449" y="526"/>
                  </a:lnTo>
                  <a:lnTo>
                    <a:pt x="476" y="525"/>
                  </a:lnTo>
                  <a:lnTo>
                    <a:pt x="503" y="523"/>
                  </a:lnTo>
                  <a:lnTo>
                    <a:pt x="530" y="519"/>
                  </a:lnTo>
                  <a:lnTo>
                    <a:pt x="556" y="515"/>
                  </a:lnTo>
                  <a:lnTo>
                    <a:pt x="582" y="509"/>
                  </a:lnTo>
                  <a:lnTo>
                    <a:pt x="607" y="503"/>
                  </a:lnTo>
                  <a:lnTo>
                    <a:pt x="632" y="495"/>
                  </a:lnTo>
                  <a:lnTo>
                    <a:pt x="657" y="486"/>
                  </a:lnTo>
                  <a:lnTo>
                    <a:pt x="681" y="476"/>
                  </a:lnTo>
                  <a:lnTo>
                    <a:pt x="705" y="466"/>
                  </a:lnTo>
                  <a:lnTo>
                    <a:pt x="728" y="454"/>
                  </a:lnTo>
                  <a:lnTo>
                    <a:pt x="750" y="441"/>
                  </a:lnTo>
                  <a:lnTo>
                    <a:pt x="773" y="428"/>
                  </a:lnTo>
                  <a:lnTo>
                    <a:pt x="794" y="413"/>
                  </a:lnTo>
                  <a:lnTo>
                    <a:pt x="815" y="398"/>
                  </a:lnTo>
                  <a:lnTo>
                    <a:pt x="835" y="382"/>
                  </a:lnTo>
                  <a:lnTo>
                    <a:pt x="855" y="365"/>
                  </a:lnTo>
                  <a:lnTo>
                    <a:pt x="874" y="347"/>
                  </a:lnTo>
                  <a:lnTo>
                    <a:pt x="892" y="329"/>
                  </a:lnTo>
                  <a:lnTo>
                    <a:pt x="909" y="309"/>
                  </a:lnTo>
                  <a:lnTo>
                    <a:pt x="926" y="289"/>
                  </a:lnTo>
                  <a:lnTo>
                    <a:pt x="942" y="269"/>
                  </a:lnTo>
                  <a:lnTo>
                    <a:pt x="957" y="247"/>
                  </a:lnTo>
                  <a:lnTo>
                    <a:pt x="971" y="225"/>
                  </a:lnTo>
                  <a:lnTo>
                    <a:pt x="985" y="202"/>
                  </a:lnTo>
                  <a:lnTo>
                    <a:pt x="997" y="179"/>
                  </a:lnTo>
                  <a:lnTo>
                    <a:pt x="1009" y="155"/>
                  </a:lnTo>
                  <a:lnTo>
                    <a:pt x="1019" y="131"/>
                  </a:lnTo>
                  <a:lnTo>
                    <a:pt x="1029" y="106"/>
                  </a:lnTo>
                  <a:lnTo>
                    <a:pt x="1037" y="80"/>
                  </a:lnTo>
                  <a:lnTo>
                    <a:pt x="872" y="117"/>
                  </a:lnTo>
                  <a:lnTo>
                    <a:pt x="735" y="0"/>
                  </a:lnTo>
                  <a:lnTo>
                    <a:pt x="735" y="0"/>
                  </a:lnTo>
                  <a:close/>
                </a:path>
              </a:pathLst>
            </a:custGeom>
            <a:solidFill>
              <a:schemeClr val="tx2"/>
            </a:solidFill>
            <a:ln w="1143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9" name="Freeform 4">
              <a:extLst>
                <a:ext uri="{FF2B5EF4-FFF2-40B4-BE49-F238E27FC236}">
                  <a16:creationId xmlns:a16="http://schemas.microsoft.com/office/drawing/2014/main" id="{9E67CCE5-650D-1160-EC4D-3AE674027959}"/>
                </a:ext>
              </a:extLst>
            </p:cNvPr>
            <p:cNvSpPr>
              <a:spLocks/>
            </p:cNvSpPr>
            <p:nvPr>
              <p:custDataLst>
                <p:tags r:id="rId4"/>
              </p:custDataLst>
            </p:nvPr>
          </p:nvSpPr>
          <p:spPr bwMode="auto">
            <a:xfrm rot="2243846">
              <a:off x="2785322" y="2246716"/>
              <a:ext cx="3454520" cy="3128859"/>
            </a:xfrm>
            <a:custGeom>
              <a:avLst/>
              <a:gdLst>
                <a:gd name="T0" fmla="*/ 125 w 893"/>
                <a:gd name="T1" fmla="*/ 323 h 826"/>
                <a:gd name="T2" fmla="*/ 151 w 893"/>
                <a:gd name="T3" fmla="*/ 323 h 826"/>
                <a:gd name="T4" fmla="*/ 177 w 893"/>
                <a:gd name="T5" fmla="*/ 324 h 826"/>
                <a:gd name="T6" fmla="*/ 204 w 893"/>
                <a:gd name="T7" fmla="*/ 327 h 826"/>
                <a:gd name="T8" fmla="*/ 230 w 893"/>
                <a:gd name="T9" fmla="*/ 331 h 826"/>
                <a:gd name="T10" fmla="*/ 257 w 893"/>
                <a:gd name="T11" fmla="*/ 338 h 826"/>
                <a:gd name="T12" fmla="*/ 282 w 893"/>
                <a:gd name="T13" fmla="*/ 346 h 826"/>
                <a:gd name="T14" fmla="*/ 308 w 893"/>
                <a:gd name="T15" fmla="*/ 356 h 826"/>
                <a:gd name="T16" fmla="*/ 332 w 893"/>
                <a:gd name="T17" fmla="*/ 367 h 826"/>
                <a:gd name="T18" fmla="*/ 355 w 893"/>
                <a:gd name="T19" fmla="*/ 380 h 826"/>
                <a:gd name="T20" fmla="*/ 377 w 893"/>
                <a:gd name="T21" fmla="*/ 395 h 826"/>
                <a:gd name="T22" fmla="*/ 398 w 893"/>
                <a:gd name="T23" fmla="*/ 412 h 826"/>
                <a:gd name="T24" fmla="*/ 417 w 893"/>
                <a:gd name="T25" fmla="*/ 430 h 826"/>
                <a:gd name="T26" fmla="*/ 434 w 893"/>
                <a:gd name="T27" fmla="*/ 450 h 826"/>
                <a:gd name="T28" fmla="*/ 449 w 893"/>
                <a:gd name="T29" fmla="*/ 472 h 826"/>
                <a:gd name="T30" fmla="*/ 461 w 893"/>
                <a:gd name="T31" fmla="*/ 495 h 826"/>
                <a:gd name="T32" fmla="*/ 473 w 893"/>
                <a:gd name="T33" fmla="*/ 526 h 826"/>
                <a:gd name="T34" fmla="*/ 484 w 893"/>
                <a:gd name="T35" fmla="*/ 563 h 826"/>
                <a:gd name="T36" fmla="*/ 488 w 893"/>
                <a:gd name="T37" fmla="*/ 581 h 826"/>
                <a:gd name="T38" fmla="*/ 491 w 893"/>
                <a:gd name="T39" fmla="*/ 600 h 826"/>
                <a:gd name="T40" fmla="*/ 492 w 893"/>
                <a:gd name="T41" fmla="*/ 619 h 826"/>
                <a:gd name="T42" fmla="*/ 493 w 893"/>
                <a:gd name="T43" fmla="*/ 637 h 826"/>
                <a:gd name="T44" fmla="*/ 492 w 893"/>
                <a:gd name="T45" fmla="*/ 655 h 826"/>
                <a:gd name="T46" fmla="*/ 623 w 893"/>
                <a:gd name="T47" fmla="*/ 826 h 826"/>
                <a:gd name="T48" fmla="*/ 809 w 893"/>
                <a:gd name="T49" fmla="*/ 750 h 826"/>
                <a:gd name="T50" fmla="*/ 816 w 893"/>
                <a:gd name="T51" fmla="*/ 706 h 826"/>
                <a:gd name="T52" fmla="*/ 819 w 893"/>
                <a:gd name="T53" fmla="*/ 662 h 826"/>
                <a:gd name="T54" fmla="*/ 819 w 893"/>
                <a:gd name="T55" fmla="*/ 616 h 826"/>
                <a:gd name="T56" fmla="*/ 816 w 893"/>
                <a:gd name="T57" fmla="*/ 570 h 826"/>
                <a:gd name="T58" fmla="*/ 809 w 893"/>
                <a:gd name="T59" fmla="*/ 524 h 826"/>
                <a:gd name="T60" fmla="*/ 799 w 893"/>
                <a:gd name="T61" fmla="*/ 478 h 826"/>
                <a:gd name="T62" fmla="*/ 786 w 893"/>
                <a:gd name="T63" fmla="*/ 433 h 826"/>
                <a:gd name="T64" fmla="*/ 770 w 893"/>
                <a:gd name="T65" fmla="*/ 389 h 826"/>
                <a:gd name="T66" fmla="*/ 758 w 893"/>
                <a:gd name="T67" fmla="*/ 362 h 826"/>
                <a:gd name="T68" fmla="*/ 745 w 893"/>
                <a:gd name="T69" fmla="*/ 337 h 826"/>
                <a:gd name="T70" fmla="*/ 731 w 893"/>
                <a:gd name="T71" fmla="*/ 311 h 826"/>
                <a:gd name="T72" fmla="*/ 716 w 893"/>
                <a:gd name="T73" fmla="*/ 287 h 826"/>
                <a:gd name="T74" fmla="*/ 700 w 893"/>
                <a:gd name="T75" fmla="*/ 263 h 826"/>
                <a:gd name="T76" fmla="*/ 682 w 893"/>
                <a:gd name="T77" fmla="*/ 241 h 826"/>
                <a:gd name="T78" fmla="*/ 645 w 893"/>
                <a:gd name="T79" fmla="*/ 198 h 826"/>
                <a:gd name="T80" fmla="*/ 604 w 893"/>
                <a:gd name="T81" fmla="*/ 159 h 826"/>
                <a:gd name="T82" fmla="*/ 560 w 893"/>
                <a:gd name="T83" fmla="*/ 123 h 826"/>
                <a:gd name="T84" fmla="*/ 512 w 893"/>
                <a:gd name="T85" fmla="*/ 92 h 826"/>
                <a:gd name="T86" fmla="*/ 462 w 893"/>
                <a:gd name="T87" fmla="*/ 65 h 826"/>
                <a:gd name="T88" fmla="*/ 410 w 893"/>
                <a:gd name="T89" fmla="*/ 42 h 826"/>
                <a:gd name="T90" fmla="*/ 355 w 893"/>
                <a:gd name="T91" fmla="*/ 24 h 826"/>
                <a:gd name="T92" fmla="*/ 299 w 893"/>
                <a:gd name="T93" fmla="*/ 11 h 826"/>
                <a:gd name="T94" fmla="*/ 241 w 893"/>
                <a:gd name="T95" fmla="*/ 3 h 826"/>
                <a:gd name="T96" fmla="*/ 211 w 893"/>
                <a:gd name="T97" fmla="*/ 1 h 826"/>
                <a:gd name="T98" fmla="*/ 181 w 893"/>
                <a:gd name="T99" fmla="*/ 0 h 826"/>
                <a:gd name="T100" fmla="*/ 151 w 893"/>
                <a:gd name="T101" fmla="*/ 0 h 826"/>
                <a:gd name="T102" fmla="*/ 121 w 893"/>
                <a:gd name="T103" fmla="*/ 2 h 826"/>
                <a:gd name="T104" fmla="*/ 91 w 893"/>
                <a:gd name="T105" fmla="*/ 6 h 826"/>
                <a:gd name="T106" fmla="*/ 61 w 893"/>
                <a:gd name="T107" fmla="*/ 10 h 826"/>
                <a:gd name="T108" fmla="*/ 30 w 893"/>
                <a:gd name="T109" fmla="*/ 17 h 826"/>
                <a:gd name="T110" fmla="*/ 0 w 893"/>
                <a:gd name="T111" fmla="*/ 24 h 826"/>
                <a:gd name="T112" fmla="*/ 112 w 893"/>
                <a:gd name="T113" fmla="*/ 3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3" h="826">
                  <a:moveTo>
                    <a:pt x="112" y="325"/>
                  </a:moveTo>
                  <a:lnTo>
                    <a:pt x="125" y="323"/>
                  </a:lnTo>
                  <a:lnTo>
                    <a:pt x="138" y="323"/>
                  </a:lnTo>
                  <a:lnTo>
                    <a:pt x="151" y="323"/>
                  </a:lnTo>
                  <a:lnTo>
                    <a:pt x="164" y="323"/>
                  </a:lnTo>
                  <a:lnTo>
                    <a:pt x="177" y="324"/>
                  </a:lnTo>
                  <a:lnTo>
                    <a:pt x="190" y="325"/>
                  </a:lnTo>
                  <a:lnTo>
                    <a:pt x="204" y="327"/>
                  </a:lnTo>
                  <a:lnTo>
                    <a:pt x="217" y="329"/>
                  </a:lnTo>
                  <a:lnTo>
                    <a:pt x="230" y="331"/>
                  </a:lnTo>
                  <a:lnTo>
                    <a:pt x="243" y="334"/>
                  </a:lnTo>
                  <a:lnTo>
                    <a:pt x="257" y="338"/>
                  </a:lnTo>
                  <a:lnTo>
                    <a:pt x="270" y="341"/>
                  </a:lnTo>
                  <a:lnTo>
                    <a:pt x="282" y="346"/>
                  </a:lnTo>
                  <a:lnTo>
                    <a:pt x="295" y="350"/>
                  </a:lnTo>
                  <a:lnTo>
                    <a:pt x="308" y="356"/>
                  </a:lnTo>
                  <a:lnTo>
                    <a:pt x="320" y="361"/>
                  </a:lnTo>
                  <a:lnTo>
                    <a:pt x="332" y="367"/>
                  </a:lnTo>
                  <a:lnTo>
                    <a:pt x="344" y="374"/>
                  </a:lnTo>
                  <a:lnTo>
                    <a:pt x="355" y="380"/>
                  </a:lnTo>
                  <a:lnTo>
                    <a:pt x="367" y="388"/>
                  </a:lnTo>
                  <a:lnTo>
                    <a:pt x="377" y="395"/>
                  </a:lnTo>
                  <a:lnTo>
                    <a:pt x="388" y="404"/>
                  </a:lnTo>
                  <a:lnTo>
                    <a:pt x="398" y="412"/>
                  </a:lnTo>
                  <a:lnTo>
                    <a:pt x="408" y="421"/>
                  </a:lnTo>
                  <a:lnTo>
                    <a:pt x="417" y="430"/>
                  </a:lnTo>
                  <a:lnTo>
                    <a:pt x="426" y="440"/>
                  </a:lnTo>
                  <a:lnTo>
                    <a:pt x="434" y="450"/>
                  </a:lnTo>
                  <a:lnTo>
                    <a:pt x="442" y="461"/>
                  </a:lnTo>
                  <a:lnTo>
                    <a:pt x="449" y="472"/>
                  </a:lnTo>
                  <a:lnTo>
                    <a:pt x="455" y="484"/>
                  </a:lnTo>
                  <a:lnTo>
                    <a:pt x="461" y="495"/>
                  </a:lnTo>
                  <a:lnTo>
                    <a:pt x="467" y="508"/>
                  </a:lnTo>
                  <a:lnTo>
                    <a:pt x="473" y="526"/>
                  </a:lnTo>
                  <a:lnTo>
                    <a:pt x="479" y="544"/>
                  </a:lnTo>
                  <a:lnTo>
                    <a:pt x="484" y="563"/>
                  </a:lnTo>
                  <a:lnTo>
                    <a:pt x="486" y="572"/>
                  </a:lnTo>
                  <a:lnTo>
                    <a:pt x="488" y="581"/>
                  </a:lnTo>
                  <a:lnTo>
                    <a:pt x="490" y="591"/>
                  </a:lnTo>
                  <a:lnTo>
                    <a:pt x="491" y="600"/>
                  </a:lnTo>
                  <a:lnTo>
                    <a:pt x="492" y="609"/>
                  </a:lnTo>
                  <a:lnTo>
                    <a:pt x="492" y="619"/>
                  </a:lnTo>
                  <a:lnTo>
                    <a:pt x="493" y="628"/>
                  </a:lnTo>
                  <a:lnTo>
                    <a:pt x="493" y="637"/>
                  </a:lnTo>
                  <a:lnTo>
                    <a:pt x="492" y="646"/>
                  </a:lnTo>
                  <a:lnTo>
                    <a:pt x="492" y="655"/>
                  </a:lnTo>
                  <a:lnTo>
                    <a:pt x="422" y="644"/>
                  </a:lnTo>
                  <a:lnTo>
                    <a:pt x="623" y="826"/>
                  </a:lnTo>
                  <a:lnTo>
                    <a:pt x="893" y="768"/>
                  </a:lnTo>
                  <a:lnTo>
                    <a:pt x="809" y="750"/>
                  </a:lnTo>
                  <a:lnTo>
                    <a:pt x="813" y="728"/>
                  </a:lnTo>
                  <a:lnTo>
                    <a:pt x="816" y="706"/>
                  </a:lnTo>
                  <a:lnTo>
                    <a:pt x="818" y="684"/>
                  </a:lnTo>
                  <a:lnTo>
                    <a:pt x="819" y="662"/>
                  </a:lnTo>
                  <a:lnTo>
                    <a:pt x="819" y="639"/>
                  </a:lnTo>
                  <a:lnTo>
                    <a:pt x="819" y="616"/>
                  </a:lnTo>
                  <a:lnTo>
                    <a:pt x="818" y="593"/>
                  </a:lnTo>
                  <a:lnTo>
                    <a:pt x="816" y="570"/>
                  </a:lnTo>
                  <a:lnTo>
                    <a:pt x="813" y="547"/>
                  </a:lnTo>
                  <a:lnTo>
                    <a:pt x="809" y="524"/>
                  </a:lnTo>
                  <a:lnTo>
                    <a:pt x="804" y="501"/>
                  </a:lnTo>
                  <a:lnTo>
                    <a:pt x="799" y="478"/>
                  </a:lnTo>
                  <a:lnTo>
                    <a:pt x="793" y="455"/>
                  </a:lnTo>
                  <a:lnTo>
                    <a:pt x="786" y="433"/>
                  </a:lnTo>
                  <a:lnTo>
                    <a:pt x="778" y="411"/>
                  </a:lnTo>
                  <a:lnTo>
                    <a:pt x="770" y="389"/>
                  </a:lnTo>
                  <a:lnTo>
                    <a:pt x="764" y="376"/>
                  </a:lnTo>
                  <a:lnTo>
                    <a:pt x="758" y="362"/>
                  </a:lnTo>
                  <a:lnTo>
                    <a:pt x="752" y="349"/>
                  </a:lnTo>
                  <a:lnTo>
                    <a:pt x="745" y="337"/>
                  </a:lnTo>
                  <a:lnTo>
                    <a:pt x="738" y="324"/>
                  </a:lnTo>
                  <a:lnTo>
                    <a:pt x="731" y="311"/>
                  </a:lnTo>
                  <a:lnTo>
                    <a:pt x="723" y="299"/>
                  </a:lnTo>
                  <a:lnTo>
                    <a:pt x="716" y="287"/>
                  </a:lnTo>
                  <a:lnTo>
                    <a:pt x="708" y="275"/>
                  </a:lnTo>
                  <a:lnTo>
                    <a:pt x="700" y="263"/>
                  </a:lnTo>
                  <a:lnTo>
                    <a:pt x="691" y="252"/>
                  </a:lnTo>
                  <a:lnTo>
                    <a:pt x="682" y="241"/>
                  </a:lnTo>
                  <a:lnTo>
                    <a:pt x="664" y="219"/>
                  </a:lnTo>
                  <a:lnTo>
                    <a:pt x="645" y="198"/>
                  </a:lnTo>
                  <a:lnTo>
                    <a:pt x="625" y="178"/>
                  </a:lnTo>
                  <a:lnTo>
                    <a:pt x="604" y="159"/>
                  </a:lnTo>
                  <a:lnTo>
                    <a:pt x="582" y="141"/>
                  </a:lnTo>
                  <a:lnTo>
                    <a:pt x="560" y="123"/>
                  </a:lnTo>
                  <a:lnTo>
                    <a:pt x="536" y="107"/>
                  </a:lnTo>
                  <a:lnTo>
                    <a:pt x="512" y="92"/>
                  </a:lnTo>
                  <a:lnTo>
                    <a:pt x="488" y="78"/>
                  </a:lnTo>
                  <a:lnTo>
                    <a:pt x="462" y="65"/>
                  </a:lnTo>
                  <a:lnTo>
                    <a:pt x="436" y="53"/>
                  </a:lnTo>
                  <a:lnTo>
                    <a:pt x="410" y="42"/>
                  </a:lnTo>
                  <a:lnTo>
                    <a:pt x="383" y="33"/>
                  </a:lnTo>
                  <a:lnTo>
                    <a:pt x="355" y="24"/>
                  </a:lnTo>
                  <a:lnTo>
                    <a:pt x="327" y="17"/>
                  </a:lnTo>
                  <a:lnTo>
                    <a:pt x="299" y="11"/>
                  </a:lnTo>
                  <a:lnTo>
                    <a:pt x="270" y="6"/>
                  </a:lnTo>
                  <a:lnTo>
                    <a:pt x="241" y="3"/>
                  </a:lnTo>
                  <a:lnTo>
                    <a:pt x="226" y="2"/>
                  </a:lnTo>
                  <a:lnTo>
                    <a:pt x="211" y="1"/>
                  </a:lnTo>
                  <a:lnTo>
                    <a:pt x="196" y="0"/>
                  </a:lnTo>
                  <a:lnTo>
                    <a:pt x="181" y="0"/>
                  </a:lnTo>
                  <a:lnTo>
                    <a:pt x="166" y="0"/>
                  </a:lnTo>
                  <a:lnTo>
                    <a:pt x="151" y="0"/>
                  </a:lnTo>
                  <a:lnTo>
                    <a:pt x="136" y="1"/>
                  </a:lnTo>
                  <a:lnTo>
                    <a:pt x="121" y="2"/>
                  </a:lnTo>
                  <a:lnTo>
                    <a:pt x="106" y="4"/>
                  </a:lnTo>
                  <a:lnTo>
                    <a:pt x="91" y="6"/>
                  </a:lnTo>
                  <a:lnTo>
                    <a:pt x="76" y="8"/>
                  </a:lnTo>
                  <a:lnTo>
                    <a:pt x="61" y="10"/>
                  </a:lnTo>
                  <a:lnTo>
                    <a:pt x="45" y="13"/>
                  </a:lnTo>
                  <a:lnTo>
                    <a:pt x="30" y="17"/>
                  </a:lnTo>
                  <a:lnTo>
                    <a:pt x="15" y="20"/>
                  </a:lnTo>
                  <a:lnTo>
                    <a:pt x="0" y="24"/>
                  </a:lnTo>
                  <a:lnTo>
                    <a:pt x="135" y="154"/>
                  </a:lnTo>
                  <a:lnTo>
                    <a:pt x="112" y="325"/>
                  </a:lnTo>
                  <a:lnTo>
                    <a:pt x="112" y="325"/>
                  </a:lnTo>
                  <a:close/>
                </a:path>
              </a:pathLst>
            </a:custGeom>
            <a:solidFill>
              <a:srgbClr val="D9D9D9"/>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0" name="TextBox 9">
              <a:extLst>
                <a:ext uri="{FF2B5EF4-FFF2-40B4-BE49-F238E27FC236}">
                  <a16:creationId xmlns:a16="http://schemas.microsoft.com/office/drawing/2014/main" id="{538842C0-0259-A53C-EBE2-3DE8DDCE9BBD}"/>
                </a:ext>
              </a:extLst>
            </p:cNvPr>
            <p:cNvSpPr txBox="1"/>
            <p:nvPr/>
          </p:nvSpPr>
          <p:spPr>
            <a:xfrm rot="20514076">
              <a:off x="1323245" y="1878150"/>
              <a:ext cx="3785064" cy="3814007"/>
            </a:xfrm>
            <a:prstGeom prst="rect">
              <a:avLst/>
            </a:prstGeom>
            <a:noFill/>
            <a:ln w="28575">
              <a:noFill/>
            </a:ln>
          </p:spPr>
          <p:txBody>
            <a:bodyPr wrap="square" lIns="109728" tIns="54864" rIns="109728" bIns="54864" rtlCol="0">
              <a:prstTxWarp prst="textArchUp">
                <a:avLst>
                  <a:gd name="adj" fmla="val 5811603"/>
                </a:avLst>
              </a:prstTxWarp>
              <a:spAutoFit/>
            </a:bodyPr>
            <a:lstStyle/>
            <a:p>
              <a:r>
                <a:rPr lang="en-US" sz="2000" b="1" dirty="0">
                  <a:solidFill>
                    <a:schemeClr val="bg1"/>
                  </a:solidFill>
                </a:rPr>
                <a:t>IDENTIFY LEADERS           INVEST &amp; DEVELOP             FORECAST VACANCIES       </a:t>
              </a:r>
            </a:p>
          </p:txBody>
        </p:sp>
      </p:grpSp>
    </p:spTree>
    <p:extLst>
      <p:ext uri="{BB962C8B-B14F-4D97-AF65-F5344CB8AC3E}">
        <p14:creationId xmlns:p14="http://schemas.microsoft.com/office/powerpoint/2010/main" val="3923281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D277DFC-F56A-58F7-FC21-3F26092ECBD3}"/>
              </a:ext>
            </a:extLst>
          </p:cNvPr>
          <p:cNvGraphicFramePr>
            <a:graphicFrameLocks noChangeAspect="1"/>
          </p:cNvGraphicFramePr>
          <p:nvPr>
            <p:custDataLst>
              <p:tags r:id="rId1"/>
            </p:custDataLst>
            <p:extLst>
              <p:ext uri="{D42A27DB-BD31-4B8C-83A1-F6EECF244321}">
                <p14:modId xmlns:p14="http://schemas.microsoft.com/office/powerpoint/2010/main" val="955508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1" name="think-cell data - do not delete" hidden="1">
                        <a:extLst>
                          <a:ext uri="{FF2B5EF4-FFF2-40B4-BE49-F238E27FC236}">
                            <a16:creationId xmlns:a16="http://schemas.microsoft.com/office/drawing/2014/main" id="{9D277DFC-F56A-58F7-FC21-3F26092ECB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72AD602-DDDC-D323-ECFD-BC540FC912CF}"/>
              </a:ext>
            </a:extLst>
          </p:cNvPr>
          <p:cNvSpPr>
            <a:spLocks noGrp="1"/>
          </p:cNvSpPr>
          <p:nvPr>
            <p:ph type="title"/>
          </p:nvPr>
        </p:nvSpPr>
        <p:spPr/>
        <p:txBody>
          <a:bodyPr vert="horz"/>
          <a:lstStyle/>
          <a:p>
            <a:r>
              <a:rPr lang="en-US" dirty="0"/>
              <a:t>To begin a conversation around these questions, start by clicking through to the </a:t>
            </a:r>
            <a:r>
              <a:rPr lang="en-US" dirty="0">
                <a:solidFill>
                  <a:schemeClr val="accent1"/>
                </a:solidFill>
              </a:rPr>
              <a:t>Identify Leaders </a:t>
            </a:r>
            <a:r>
              <a:rPr lang="en-US" dirty="0"/>
              <a:t>page of the Leadership Portal</a:t>
            </a:r>
          </a:p>
        </p:txBody>
      </p:sp>
      <p:pic>
        <p:nvPicPr>
          <p:cNvPr id="30" name="Picture 29" descr="A screenshot of a computer&#10;&#10;Description automatically generated">
            <a:extLst>
              <a:ext uri="{FF2B5EF4-FFF2-40B4-BE49-F238E27FC236}">
                <a16:creationId xmlns:a16="http://schemas.microsoft.com/office/drawing/2014/main" id="{5117EC8F-7666-61C4-C8AA-DAF04122E0E8}"/>
              </a:ext>
            </a:extLst>
          </p:cNvPr>
          <p:cNvPicPr>
            <a:picLocks noChangeAspect="1"/>
          </p:cNvPicPr>
          <p:nvPr/>
        </p:nvPicPr>
        <p:blipFill rotWithShape="1">
          <a:blip r:embed="rId5"/>
          <a:srcRect l="10053" t="18610" r="15406" b="15973"/>
          <a:stretch/>
        </p:blipFill>
        <p:spPr>
          <a:xfrm>
            <a:off x="1676399" y="1485900"/>
            <a:ext cx="8620125" cy="4486275"/>
          </a:xfrm>
          <a:prstGeom prst="rect">
            <a:avLst/>
          </a:prstGeom>
        </p:spPr>
      </p:pic>
      <p:sp>
        <p:nvSpPr>
          <p:cNvPr id="31" name="Rectangle: Rounded Corners 30">
            <a:extLst>
              <a:ext uri="{FF2B5EF4-FFF2-40B4-BE49-F238E27FC236}">
                <a16:creationId xmlns:a16="http://schemas.microsoft.com/office/drawing/2014/main" id="{C898FBE6-9CC1-0868-5D50-259800B3D83C}"/>
              </a:ext>
            </a:extLst>
          </p:cNvPr>
          <p:cNvSpPr/>
          <p:nvPr/>
        </p:nvSpPr>
        <p:spPr>
          <a:xfrm>
            <a:off x="4240055" y="2124075"/>
            <a:ext cx="2105025" cy="3462533"/>
          </a:xfrm>
          <a:prstGeom prst="roundRect">
            <a:avLst/>
          </a:prstGeom>
          <a:no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656345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632AE1F-0065-6BB7-3BB8-4BE4B2523D47}"/>
              </a:ext>
            </a:extLst>
          </p:cNvPr>
          <p:cNvGraphicFramePr>
            <a:graphicFrameLocks noChangeAspect="1"/>
          </p:cNvGraphicFramePr>
          <p:nvPr>
            <p:custDataLst>
              <p:tags r:id="rId1"/>
            </p:custDataLst>
            <p:extLst>
              <p:ext uri="{D42A27DB-BD31-4B8C-83A1-F6EECF244321}">
                <p14:modId xmlns:p14="http://schemas.microsoft.com/office/powerpoint/2010/main" val="3062537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632AE1F-0065-6BB7-3BB8-4BE4B2523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21274D9-F72A-B9BA-7B37-4AB6B0CE7AC9}"/>
              </a:ext>
            </a:extLst>
          </p:cNvPr>
          <p:cNvSpPr>
            <a:spLocks noGrp="1"/>
          </p:cNvSpPr>
          <p:nvPr>
            <p:ph type="title"/>
          </p:nvPr>
        </p:nvSpPr>
        <p:spPr/>
        <p:txBody>
          <a:bodyPr vert="horz"/>
          <a:lstStyle/>
          <a:p>
            <a:r>
              <a:rPr lang="en-US" dirty="0">
                <a:solidFill>
                  <a:schemeClr val="accent1"/>
                </a:solidFill>
              </a:rPr>
              <a:t>Identify Leaders question 1 | </a:t>
            </a:r>
            <a:r>
              <a:rPr lang="en-US" dirty="0"/>
              <a:t>How big is our bench of qualified leaders?</a:t>
            </a:r>
          </a:p>
        </p:txBody>
      </p:sp>
      <p:sp>
        <p:nvSpPr>
          <p:cNvPr id="14" name="Rectangle 13">
            <a:extLst>
              <a:ext uri="{FF2B5EF4-FFF2-40B4-BE49-F238E27FC236}">
                <a16:creationId xmlns:a16="http://schemas.microsoft.com/office/drawing/2014/main" id="{06AD4ADE-FF88-B428-E53E-1434289D925A}"/>
              </a:ext>
            </a:extLst>
          </p:cNvPr>
          <p:cNvSpPr/>
          <p:nvPr/>
        </p:nvSpPr>
        <p:spPr>
          <a:xfrm>
            <a:off x="7678454" y="1211893"/>
            <a:ext cx="5335941" cy="2546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lvl="1" fontAlgn="b">
              <a:buClr>
                <a:schemeClr val="accent1"/>
              </a:buClr>
              <a:buSzPct val="100000"/>
            </a:pPr>
            <a:r>
              <a:rPr lang="en-US" b="1" dirty="0">
                <a:solidFill>
                  <a:srgbClr val="002F6E"/>
                </a:solidFill>
                <a:latin typeface="+mj-lt"/>
              </a:rPr>
              <a:t>Leveraging the Identification Filters</a:t>
            </a:r>
            <a:endParaRPr lang="en-US" b="1" i="0" u="none" strike="noStrike" dirty="0">
              <a:solidFill>
                <a:srgbClr val="002F6E"/>
              </a:solidFill>
              <a:effectLst/>
              <a:latin typeface="+mj-lt"/>
            </a:endParaRPr>
          </a:p>
        </p:txBody>
      </p:sp>
      <p:sp>
        <p:nvSpPr>
          <p:cNvPr id="15" name="Rectangle 14">
            <a:extLst>
              <a:ext uri="{FF2B5EF4-FFF2-40B4-BE49-F238E27FC236}">
                <a16:creationId xmlns:a16="http://schemas.microsoft.com/office/drawing/2014/main" id="{268FB826-F0DC-84EC-422D-836D45329610}"/>
              </a:ext>
            </a:extLst>
          </p:cNvPr>
          <p:cNvSpPr/>
          <p:nvPr/>
        </p:nvSpPr>
        <p:spPr>
          <a:xfrm>
            <a:off x="7741085" y="1561264"/>
            <a:ext cx="3695178" cy="47738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400" u="none" strike="noStrike" dirty="0">
                <a:solidFill>
                  <a:schemeClr val="tx1"/>
                </a:solidFill>
                <a:effectLst/>
                <a:latin typeface="+mj-lt"/>
              </a:rPr>
              <a:t>In this section of the dashboard, district leaders can “cast a broad net” to understand how various expectations and parameters might impact the total number of staff they could potentially consider for a position. In doing so, </a:t>
            </a:r>
            <a:r>
              <a:rPr lang="en-US" sz="1400" dirty="0">
                <a:solidFill>
                  <a:schemeClr val="tx1"/>
                </a:solidFill>
                <a:latin typeface="+mj-lt"/>
              </a:rPr>
              <a:t>you may also discover </a:t>
            </a:r>
            <a:r>
              <a:rPr lang="en-US" sz="1400" u="none" strike="noStrike" dirty="0">
                <a:solidFill>
                  <a:schemeClr val="tx1"/>
                </a:solidFill>
                <a:effectLst/>
                <a:latin typeface="+mj-lt"/>
              </a:rPr>
              <a:t>how certain qualification expectations may be unintentionally excluding or giving  preference to certain groups.</a:t>
            </a:r>
          </a:p>
          <a:p>
            <a:endParaRPr lang="en-US" sz="1400" dirty="0">
              <a:solidFill>
                <a:schemeClr val="tx1"/>
              </a:solidFill>
              <a:latin typeface="+mj-lt"/>
            </a:endParaRPr>
          </a:p>
          <a:p>
            <a:r>
              <a:rPr lang="en-US" sz="1400" dirty="0">
                <a:solidFill>
                  <a:schemeClr val="tx1"/>
                </a:solidFill>
                <a:latin typeface="+mj-lt"/>
              </a:rPr>
              <a:t>While these are by no means the total universe of potential factors to be considered in evaluating who may be qualified for a position*, they should spur some initial dialogue about whether this total pool is big enough for your vacancy needs. If so, are they all showing up in your development programs and hiring processes. If not, why not?</a:t>
            </a:r>
          </a:p>
          <a:p>
            <a:endParaRPr lang="en-US" sz="1400" dirty="0">
              <a:solidFill>
                <a:schemeClr val="tx1"/>
              </a:solidFill>
              <a:latin typeface="+mj-lt"/>
            </a:endParaRPr>
          </a:p>
          <a:p>
            <a:r>
              <a:rPr lang="en-US" sz="1400" dirty="0">
                <a:solidFill>
                  <a:schemeClr val="tx1"/>
                </a:solidFill>
                <a:latin typeface="+mj-lt"/>
              </a:rPr>
              <a:t>It may be that you have a small pool of people who meet the high bar for readiness, so you need to start your development further upstream in your pipeline with those who aspire.</a:t>
            </a:r>
          </a:p>
        </p:txBody>
      </p:sp>
      <p:pic>
        <p:nvPicPr>
          <p:cNvPr id="19" name="Picture 18" descr="A screenshot of a computer&#10;&#10;Description automatically generated">
            <a:extLst>
              <a:ext uri="{FF2B5EF4-FFF2-40B4-BE49-F238E27FC236}">
                <a16:creationId xmlns:a16="http://schemas.microsoft.com/office/drawing/2014/main" id="{06B09BB0-6834-5959-B5FF-678637C271E5}"/>
              </a:ext>
            </a:extLst>
          </p:cNvPr>
          <p:cNvPicPr>
            <a:picLocks noChangeAspect="1"/>
          </p:cNvPicPr>
          <p:nvPr/>
        </p:nvPicPr>
        <p:blipFill rotWithShape="1">
          <a:blip r:embed="rId5"/>
          <a:srcRect l="15916" t="26119" r="16216" b="1763"/>
          <a:stretch/>
        </p:blipFill>
        <p:spPr>
          <a:xfrm>
            <a:off x="326373" y="1211893"/>
            <a:ext cx="7319773" cy="4612710"/>
          </a:xfrm>
          <a:prstGeom prst="rect">
            <a:avLst/>
          </a:prstGeom>
        </p:spPr>
      </p:pic>
      <p:sp>
        <p:nvSpPr>
          <p:cNvPr id="21" name="TextBox 20">
            <a:extLst>
              <a:ext uri="{FF2B5EF4-FFF2-40B4-BE49-F238E27FC236}">
                <a16:creationId xmlns:a16="http://schemas.microsoft.com/office/drawing/2014/main" id="{AF895F7B-25D1-8292-CB89-C71AF37016D1}"/>
              </a:ext>
            </a:extLst>
          </p:cNvPr>
          <p:cNvSpPr txBox="1"/>
          <p:nvPr/>
        </p:nvSpPr>
        <p:spPr>
          <a:xfrm>
            <a:off x="2821268" y="6186870"/>
            <a:ext cx="6913860" cy="577081"/>
          </a:xfrm>
          <a:prstGeom prst="rect">
            <a:avLst/>
          </a:prstGeom>
          <a:noFill/>
        </p:spPr>
        <p:txBody>
          <a:bodyPr wrap="square">
            <a:spAutoFit/>
          </a:bodyPr>
          <a:lstStyle/>
          <a:p>
            <a:r>
              <a:rPr lang="en-US" sz="1050" i="1" dirty="0">
                <a:solidFill>
                  <a:schemeClr val="accent6"/>
                </a:solidFill>
                <a:latin typeface="+mj-lt"/>
              </a:rPr>
              <a:t>*It extremely important to understand that these are not the total universe of possible levers for consideration. This is merely a launching point, and each district leadership team should carefully consider the additional data points required to successfully execute this process in their district.</a:t>
            </a:r>
          </a:p>
        </p:txBody>
      </p:sp>
    </p:spTree>
    <p:extLst>
      <p:ext uri="{BB962C8B-B14F-4D97-AF65-F5344CB8AC3E}">
        <p14:creationId xmlns:p14="http://schemas.microsoft.com/office/powerpoint/2010/main" val="7009490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632AE1F-0065-6BB7-3BB8-4BE4B2523D47}"/>
              </a:ext>
            </a:extLst>
          </p:cNvPr>
          <p:cNvGraphicFramePr>
            <a:graphicFrameLocks noChangeAspect="1"/>
          </p:cNvGraphicFramePr>
          <p:nvPr>
            <p:custDataLst>
              <p:tags r:id="rId1"/>
            </p:custDataLst>
            <p:extLst>
              <p:ext uri="{D42A27DB-BD31-4B8C-83A1-F6EECF244321}">
                <p14:modId xmlns:p14="http://schemas.microsoft.com/office/powerpoint/2010/main" val="309623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632AE1F-0065-6BB7-3BB8-4BE4B2523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21274D9-F72A-B9BA-7B37-4AB6B0CE7AC9}"/>
              </a:ext>
            </a:extLst>
          </p:cNvPr>
          <p:cNvSpPr>
            <a:spLocks noGrp="1"/>
          </p:cNvSpPr>
          <p:nvPr>
            <p:ph type="title"/>
          </p:nvPr>
        </p:nvSpPr>
        <p:spPr/>
        <p:txBody>
          <a:bodyPr vert="horz"/>
          <a:lstStyle/>
          <a:p>
            <a:r>
              <a:rPr lang="en-US" dirty="0">
                <a:solidFill>
                  <a:schemeClr val="accent1"/>
                </a:solidFill>
              </a:rPr>
              <a:t>Identify Leaders question 2 | </a:t>
            </a:r>
            <a:r>
              <a:rPr lang="en-US" sz="2800" dirty="0"/>
              <a:t>Who has </a:t>
            </a:r>
            <a:r>
              <a:rPr lang="en-US" sz="2800" b="1" dirty="0"/>
              <a:t>high potential </a:t>
            </a:r>
            <a:r>
              <a:rPr lang="en-US" sz="2800" dirty="0"/>
              <a:t>to be successful as a principal with some focused development?</a:t>
            </a:r>
            <a:br>
              <a:rPr lang="en-US" sz="2800" dirty="0"/>
            </a:br>
            <a:endParaRPr lang="en-US" dirty="0"/>
          </a:p>
        </p:txBody>
      </p:sp>
      <p:sp>
        <p:nvSpPr>
          <p:cNvPr id="15" name="Rectangle 14">
            <a:extLst>
              <a:ext uri="{FF2B5EF4-FFF2-40B4-BE49-F238E27FC236}">
                <a16:creationId xmlns:a16="http://schemas.microsoft.com/office/drawing/2014/main" id="{268FB826-F0DC-84EC-422D-836D45329610}"/>
              </a:ext>
            </a:extLst>
          </p:cNvPr>
          <p:cNvSpPr/>
          <p:nvPr/>
        </p:nvSpPr>
        <p:spPr>
          <a:xfrm>
            <a:off x="355599" y="1385901"/>
            <a:ext cx="4279031" cy="475185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600" b="1" u="none" strike="noStrike" dirty="0">
                <a:solidFill>
                  <a:schemeClr val="tx1"/>
                </a:solidFill>
                <a:effectLst/>
                <a:latin typeface="+mj-lt"/>
              </a:rPr>
              <a:t>Directions: </a:t>
            </a:r>
          </a:p>
          <a:p>
            <a:r>
              <a:rPr lang="en-US" sz="1600" dirty="0">
                <a:solidFill>
                  <a:schemeClr val="tx1"/>
                </a:solidFill>
                <a:latin typeface="+mj-lt"/>
              </a:rPr>
              <a:t>In this section, district leaders should leverage the list of campuses created from the forecast section with potential upcoming vacancies and consider one highest priority campus.  How might your criteria need to tighten for a leader to be successful at that campus? Do this for each highest priority campus.</a:t>
            </a:r>
          </a:p>
          <a:p>
            <a:endParaRPr lang="en-US" sz="1600" dirty="0">
              <a:solidFill>
                <a:schemeClr val="tx1"/>
              </a:solidFill>
              <a:latin typeface="+mj-lt"/>
            </a:endParaRPr>
          </a:p>
          <a:p>
            <a:r>
              <a:rPr lang="en-US" sz="1600" dirty="0">
                <a:solidFill>
                  <a:schemeClr val="tx1"/>
                </a:solidFill>
                <a:latin typeface="+mj-lt"/>
              </a:rPr>
              <a:t>We recommend a district has some intentional conversation to identify the skills, experiences, and mindsets they expect leaders to have and what indicates that a staff member is on track to attain these.</a:t>
            </a:r>
          </a:p>
          <a:p>
            <a:endParaRPr lang="en-US" sz="1600" dirty="0">
              <a:solidFill>
                <a:schemeClr val="tx1"/>
              </a:solidFill>
              <a:latin typeface="+mj-lt"/>
            </a:endParaRPr>
          </a:p>
          <a:p>
            <a:r>
              <a:rPr lang="en-US" sz="1600" dirty="0">
                <a:solidFill>
                  <a:schemeClr val="tx1"/>
                </a:solidFill>
                <a:latin typeface="+mj-lt"/>
              </a:rPr>
              <a:t>As an example, consider the framework on the following slide that a district might adapt to better define what both potential and readiness for the principal role look like.</a:t>
            </a:r>
          </a:p>
          <a:p>
            <a:endParaRPr lang="en-US" sz="1600" dirty="0">
              <a:solidFill>
                <a:schemeClr val="tx1"/>
              </a:solidFill>
              <a:latin typeface="+mj-lt"/>
            </a:endParaRPr>
          </a:p>
        </p:txBody>
      </p:sp>
      <p:pic>
        <p:nvPicPr>
          <p:cNvPr id="10" name="Picture 9" descr="A screenshot of a computer&#10;&#10;Description automatically generated">
            <a:extLst>
              <a:ext uri="{FF2B5EF4-FFF2-40B4-BE49-F238E27FC236}">
                <a16:creationId xmlns:a16="http://schemas.microsoft.com/office/drawing/2014/main" id="{C0DC0314-56AE-0A5B-F45B-E414CDB892C0}"/>
              </a:ext>
            </a:extLst>
          </p:cNvPr>
          <p:cNvPicPr>
            <a:picLocks noChangeAspect="1"/>
          </p:cNvPicPr>
          <p:nvPr/>
        </p:nvPicPr>
        <p:blipFill rotWithShape="1">
          <a:blip r:embed="rId5"/>
          <a:srcRect l="15916" t="26119" r="16216" b="1567"/>
          <a:stretch/>
        </p:blipFill>
        <p:spPr>
          <a:xfrm>
            <a:off x="4634630" y="1512518"/>
            <a:ext cx="7319773" cy="4625235"/>
          </a:xfrm>
          <a:prstGeom prst="rect">
            <a:avLst/>
          </a:prstGeom>
        </p:spPr>
      </p:pic>
    </p:spTree>
    <p:extLst>
      <p:ext uri="{BB962C8B-B14F-4D97-AF65-F5344CB8AC3E}">
        <p14:creationId xmlns:p14="http://schemas.microsoft.com/office/powerpoint/2010/main" val="42133877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1160A2A7-331E-268A-5E2D-6227C1447E37}"/>
              </a:ext>
            </a:extLst>
          </p:cNvPr>
          <p:cNvGraphicFramePr>
            <a:graphicFrameLocks noGrp="1"/>
          </p:cNvGraphicFramePr>
          <p:nvPr>
            <p:extLst>
              <p:ext uri="{D42A27DB-BD31-4B8C-83A1-F6EECF244321}">
                <p14:modId xmlns:p14="http://schemas.microsoft.com/office/powerpoint/2010/main" val="2895837348"/>
              </p:ext>
            </p:extLst>
          </p:nvPr>
        </p:nvGraphicFramePr>
        <p:xfrm>
          <a:off x="340290" y="1468671"/>
          <a:ext cx="11511418" cy="4671646"/>
        </p:xfrm>
        <a:graphic>
          <a:graphicData uri="http://schemas.openxmlformats.org/drawingml/2006/table">
            <a:tbl>
              <a:tblPr firstRow="1" bandRow="1">
                <a:tableStyleId>{5C22544A-7EE6-4342-B048-85BDC9FD1C3A}</a:tableStyleId>
              </a:tblPr>
              <a:tblGrid>
                <a:gridCol w="1515393">
                  <a:extLst>
                    <a:ext uri="{9D8B030D-6E8A-4147-A177-3AD203B41FA5}">
                      <a16:colId xmlns:a16="http://schemas.microsoft.com/office/drawing/2014/main" val="3808506825"/>
                    </a:ext>
                  </a:extLst>
                </a:gridCol>
                <a:gridCol w="778549">
                  <a:extLst>
                    <a:ext uri="{9D8B030D-6E8A-4147-A177-3AD203B41FA5}">
                      <a16:colId xmlns:a16="http://schemas.microsoft.com/office/drawing/2014/main" val="449656920"/>
                    </a:ext>
                  </a:extLst>
                </a:gridCol>
                <a:gridCol w="820257">
                  <a:extLst>
                    <a:ext uri="{9D8B030D-6E8A-4147-A177-3AD203B41FA5}">
                      <a16:colId xmlns:a16="http://schemas.microsoft.com/office/drawing/2014/main" val="2188866574"/>
                    </a:ext>
                  </a:extLst>
                </a:gridCol>
                <a:gridCol w="4094340">
                  <a:extLst>
                    <a:ext uri="{9D8B030D-6E8A-4147-A177-3AD203B41FA5}">
                      <a16:colId xmlns:a16="http://schemas.microsoft.com/office/drawing/2014/main" val="133890788"/>
                    </a:ext>
                  </a:extLst>
                </a:gridCol>
                <a:gridCol w="4302879">
                  <a:extLst>
                    <a:ext uri="{9D8B030D-6E8A-4147-A177-3AD203B41FA5}">
                      <a16:colId xmlns:a16="http://schemas.microsoft.com/office/drawing/2014/main" val="1167887693"/>
                    </a:ext>
                  </a:extLst>
                </a:gridCol>
              </a:tblGrid>
              <a:tr h="318386">
                <a:tc>
                  <a:txBody>
                    <a:bodyPr/>
                    <a:lstStyle/>
                    <a:p>
                      <a:endParaRPr lang="en-US" sz="1100" b="1">
                        <a:solidFill>
                          <a:schemeClr val="tx1"/>
                        </a:solidFill>
                      </a:endParaRPr>
                    </a:p>
                  </a:txBody>
                  <a:tcPr marL="68580" marR="68580" marT="34290" marB="34290">
                    <a:noFill/>
                  </a:tcPr>
                </a:tc>
                <a:tc>
                  <a:txBody>
                    <a:bodyPr/>
                    <a:lstStyle/>
                    <a:p>
                      <a:pPr algn="ctr"/>
                      <a:r>
                        <a:rPr lang="en-US" sz="1100" b="1" i="1">
                          <a:solidFill>
                            <a:schemeClr val="bg1"/>
                          </a:solidFill>
                        </a:rPr>
                        <a:t>Has it</a:t>
                      </a:r>
                    </a:p>
                  </a:txBody>
                  <a:tcPr marL="68580" marR="68580" marT="34290" marB="34290">
                    <a:solidFill>
                      <a:schemeClr val="accent3">
                        <a:lumMod val="75000"/>
                      </a:schemeClr>
                    </a:solidFill>
                  </a:tcPr>
                </a:tc>
                <a:tc>
                  <a:txBody>
                    <a:bodyPr/>
                    <a:lstStyle/>
                    <a:p>
                      <a:pPr algn="ctr"/>
                      <a:r>
                        <a:rPr lang="en-US" sz="1100" b="1" i="1">
                          <a:solidFill>
                            <a:schemeClr val="bg1"/>
                          </a:solidFill>
                        </a:rPr>
                        <a:t>Needs it</a:t>
                      </a:r>
                    </a:p>
                  </a:txBody>
                  <a:tcPr marL="68580" marR="68580" marT="34290" marB="34290">
                    <a:solidFill>
                      <a:srgbClr val="C00000"/>
                    </a:solidFill>
                  </a:tcPr>
                </a:tc>
                <a:tc>
                  <a:txBody>
                    <a:bodyPr/>
                    <a:lstStyle/>
                    <a:p>
                      <a:r>
                        <a:rPr lang="en-US" sz="1400" dirty="0"/>
                        <a:t>Have they had these </a:t>
                      </a:r>
                      <a:r>
                        <a:rPr lang="en-US" sz="1400" i="1" u="sng" dirty="0"/>
                        <a:t>experiences</a:t>
                      </a:r>
                      <a:r>
                        <a:rPr lang="en-US" sz="1400" dirty="0"/>
                        <a:t>?</a:t>
                      </a:r>
                    </a:p>
                  </a:txBody>
                  <a:tcPr marL="68580" marR="68580" marT="34290" marB="34290">
                    <a:solidFill>
                      <a:srgbClr val="002F6E"/>
                    </a:solidFill>
                  </a:tcPr>
                </a:tc>
                <a:tc>
                  <a:txBody>
                    <a:bodyPr/>
                    <a:lstStyle/>
                    <a:p>
                      <a:r>
                        <a:rPr lang="en-US" sz="1400"/>
                        <a:t>Have they demonstrated this bar of </a:t>
                      </a:r>
                      <a:r>
                        <a:rPr lang="en-US" sz="1400" i="1" u="sng"/>
                        <a:t>competency</a:t>
                      </a:r>
                      <a:r>
                        <a:rPr lang="en-US" sz="1400"/>
                        <a:t>?</a:t>
                      </a:r>
                    </a:p>
                  </a:txBody>
                  <a:tcPr marL="68580" marR="68580" marT="34290" marB="34290">
                    <a:solidFill>
                      <a:srgbClr val="002F6E"/>
                    </a:solidFill>
                  </a:tcPr>
                </a:tc>
                <a:extLst>
                  <a:ext uri="{0D108BD9-81ED-4DB2-BD59-A6C34878D82A}">
                    <a16:rowId xmlns:a16="http://schemas.microsoft.com/office/drawing/2014/main" val="2113920769"/>
                  </a:ext>
                </a:extLst>
              </a:tr>
              <a:tr h="657560">
                <a:tc>
                  <a:txBody>
                    <a:bodyPr/>
                    <a:lstStyle/>
                    <a:p>
                      <a:pPr marL="0" indent="0">
                        <a:buFont typeface="Wingdings" panose="05000000000000000000" pitchFamily="2" charset="2"/>
                        <a:buNone/>
                      </a:pPr>
                      <a:r>
                        <a:rPr lang="en-US" sz="1400" b="1">
                          <a:solidFill>
                            <a:schemeClr val="bg1"/>
                          </a:solidFill>
                          <a:latin typeface="+mn-lt"/>
                        </a:rPr>
                        <a:t>Results- &amp; improvement-driven </a:t>
                      </a:r>
                    </a:p>
                  </a:txBody>
                  <a:tcPr marL="68580" marR="68580" marT="34290" marB="34290" anchor="ctr">
                    <a:lnB w="12700" cap="flat" cmpd="sng" algn="ctr">
                      <a:solidFill>
                        <a:schemeClr val="bg1">
                          <a:lumMod val="65000"/>
                        </a:schemeClr>
                      </a:solidFill>
                      <a:prstDash val="lgDash"/>
                      <a:round/>
                      <a:headEnd type="none" w="med" len="med"/>
                      <a:tailEnd type="none" w="med" len="med"/>
                    </a:lnB>
                    <a:solidFill>
                      <a:srgbClr val="002F6E"/>
                    </a:solidFill>
                  </a:tcPr>
                </a:tc>
                <a:tc>
                  <a:txBody>
                    <a:bodyPr/>
                    <a:lstStyle/>
                    <a:p>
                      <a:pPr marL="171450" indent="-171450" algn="ctr">
                        <a:buFont typeface="Wingdings" panose="05000000000000000000" pitchFamily="2" charset="2"/>
                        <a:buChar char="q"/>
                      </a:pPr>
                      <a:r>
                        <a:rPr lang="en-US" sz="2800" b="0" i="1">
                          <a:solidFill>
                            <a:schemeClr val="tx1"/>
                          </a:solidFill>
                          <a:latin typeface="+mn-lt"/>
                        </a:rPr>
                        <a:t> </a:t>
                      </a:r>
                    </a:p>
                  </a:txBody>
                  <a:tcPr marL="68580" marR="68580" marT="34290" marB="34290" anchor="ctr">
                    <a:lnB w="12700" cap="flat" cmpd="sng" algn="ctr">
                      <a:solidFill>
                        <a:schemeClr val="bg1">
                          <a:lumMod val="65000"/>
                        </a:schemeClr>
                      </a:solidFill>
                      <a:prstDash val="lgDash"/>
                      <a:round/>
                      <a:headEnd type="none" w="med" len="med"/>
                      <a:tailEnd type="none" w="med" len="med"/>
                    </a:lnB>
                    <a:solidFill>
                      <a:schemeClr val="accent3">
                        <a:lumMod val="20000"/>
                        <a:lumOff val="80000"/>
                      </a:schemeClr>
                    </a:solidFill>
                  </a:tcPr>
                </a:tc>
                <a:tc>
                  <a:txBody>
                    <a:bodyPr/>
                    <a:lstStyle/>
                    <a:p>
                      <a:pPr marL="171450" indent="-171450" algn="ctr">
                        <a:buFont typeface="Wingdings" panose="05000000000000000000" pitchFamily="2" charset="2"/>
                        <a:buChar char="q"/>
                      </a:pPr>
                      <a:r>
                        <a:rPr lang="en-US" sz="2800" b="0" i="1">
                          <a:solidFill>
                            <a:schemeClr val="tx1"/>
                          </a:solidFill>
                          <a:latin typeface="+mn-lt"/>
                        </a:rPr>
                        <a:t> </a:t>
                      </a:r>
                    </a:p>
                  </a:txBody>
                  <a:tcPr marL="68580" marR="68580" marT="34290" marB="34290" anchor="ctr">
                    <a:lnB w="12700" cap="flat" cmpd="sng" algn="ctr">
                      <a:solidFill>
                        <a:schemeClr val="bg1">
                          <a:lumMod val="65000"/>
                        </a:schemeClr>
                      </a:solidFill>
                      <a:prstDash val="lgDash"/>
                      <a:round/>
                      <a:headEnd type="none" w="med" len="med"/>
                      <a:tailEnd type="none" w="med" len="med"/>
                    </a:lnB>
                    <a:solidFill>
                      <a:srgbClr val="FFD9D9"/>
                    </a:solidFill>
                  </a:tcPr>
                </a:tc>
                <a:tc>
                  <a:txBody>
                    <a:bodyPr/>
                    <a:lstStyle/>
                    <a:p>
                      <a:pPr marL="171450" indent="-171450">
                        <a:buFont typeface="Wingdings" panose="05000000000000000000" pitchFamily="2" charset="2"/>
                        <a:buChar char="q"/>
                      </a:pPr>
                      <a:r>
                        <a:rPr lang="en-US" sz="1100">
                          <a:latin typeface="+mn-lt"/>
                        </a:rPr>
                        <a:t>Led a content or grade level team </a:t>
                      </a:r>
                    </a:p>
                    <a:p>
                      <a:pPr marL="171450" indent="-171450">
                        <a:buFont typeface="Wingdings" panose="05000000000000000000" pitchFamily="2" charset="2"/>
                        <a:buChar char="q"/>
                      </a:pPr>
                      <a:r>
                        <a:rPr lang="en-US" sz="1100">
                          <a:latin typeface="+mn-lt"/>
                        </a:rPr>
                        <a:t>Responsible for delivering school-wide results that are critical to the school’s success or standing with the community, state, or district </a:t>
                      </a:r>
                    </a:p>
                  </a:txBody>
                  <a:tcPr marL="68580" marR="68580" marT="34290" marB="34290">
                    <a:lnB w="12700" cap="flat" cmpd="sng" algn="ctr">
                      <a:solidFill>
                        <a:schemeClr val="bg1">
                          <a:lumMod val="65000"/>
                        </a:schemeClr>
                      </a:solidFill>
                      <a:prstDash val="lgDash"/>
                      <a:round/>
                      <a:headEnd type="none" w="med" len="med"/>
                      <a:tailEnd type="none" w="med" len="med"/>
                    </a:lnB>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latin typeface="+mn-lt"/>
                        </a:rPr>
                        <a:t>Ability to manage a team towards improved outcomes for students </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latin typeface="+mn-lt"/>
                        </a:rPr>
                        <a:t>Continuous learner who protects time to strategize, reflect, and review outcomes in service of students, families, teachers, and the community</a:t>
                      </a:r>
                    </a:p>
                  </a:txBody>
                  <a:tcPr marL="68580" marR="68580" marT="34290" marB="34290">
                    <a:lnB w="12700" cap="flat" cmpd="sng" algn="ctr">
                      <a:solidFill>
                        <a:schemeClr val="bg1">
                          <a:lumMod val="65000"/>
                        </a:schemeClr>
                      </a:solidFill>
                      <a:prstDash val="lgDash"/>
                      <a:round/>
                      <a:headEnd type="none" w="med" len="med"/>
                      <a:tailEnd type="none" w="med" len="med"/>
                    </a:lnB>
                    <a:solidFill>
                      <a:schemeClr val="bg1"/>
                    </a:solidFill>
                  </a:tcPr>
                </a:tc>
                <a:extLst>
                  <a:ext uri="{0D108BD9-81ED-4DB2-BD59-A6C34878D82A}">
                    <a16:rowId xmlns:a16="http://schemas.microsoft.com/office/drawing/2014/main" val="2885137013"/>
                  </a:ext>
                </a:extLst>
              </a:tr>
              <a:tr h="537208">
                <a:tc>
                  <a:txBody>
                    <a:bodyPr/>
                    <a:lstStyle/>
                    <a:p>
                      <a:pPr marL="0" indent="0">
                        <a:buFont typeface="Wingdings" panose="05000000000000000000" pitchFamily="2" charset="2"/>
                        <a:buNone/>
                      </a:pPr>
                      <a:r>
                        <a:rPr lang="en-US" sz="1400" b="1">
                          <a:solidFill>
                            <a:schemeClr val="bg1"/>
                          </a:solidFill>
                          <a:latin typeface="+mn-lt"/>
                        </a:rPr>
                        <a:t>Strategy &amp; long-term thinking</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rgbClr val="002F6E"/>
                    </a:solidFill>
                  </a:tcPr>
                </a:tc>
                <a:tc>
                  <a:txBody>
                    <a:bodyPr/>
                    <a:lstStyle/>
                    <a:p>
                      <a:pPr marL="171450" indent="-171450" algn="ctr">
                        <a:buFont typeface="Wingdings" panose="05000000000000000000" pitchFamily="2" charset="2"/>
                        <a:buChar char="q"/>
                      </a:pPr>
                      <a:r>
                        <a:rPr lang="en-US" sz="2800" b="0" i="1">
                          <a:solidFill>
                            <a:schemeClr val="tx1"/>
                          </a:solidFill>
                          <a:latin typeface="+mn-lt"/>
                        </a:rPr>
                        <a:t> </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chemeClr val="accent3">
                        <a:lumMod val="20000"/>
                        <a:lumOff val="80000"/>
                      </a:schemeClr>
                    </a:solidFill>
                  </a:tcPr>
                </a:tc>
                <a:tc>
                  <a:txBody>
                    <a:bodyPr/>
                    <a:lstStyle/>
                    <a:p>
                      <a:pPr marL="171450" indent="-171450" algn="ctr">
                        <a:buFont typeface="Wingdings" panose="05000000000000000000" pitchFamily="2" charset="2"/>
                        <a:buChar char="q"/>
                      </a:pPr>
                      <a:r>
                        <a:rPr lang="en-US" sz="2800" b="0" i="1">
                          <a:solidFill>
                            <a:schemeClr val="tx1"/>
                          </a:solidFill>
                          <a:latin typeface="+mn-lt"/>
                        </a:rPr>
                        <a:t> </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rgbClr val="FFD9D9"/>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solidFill>
                            <a:schemeClr val="tx1"/>
                          </a:solidFill>
                          <a:latin typeface="+mn-lt"/>
                        </a:rPr>
                        <a:t>Led an important change effort or new initiative implementation </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solidFill>
                            <a:schemeClr val="tx1"/>
                          </a:solidFill>
                          <a:latin typeface="+mn-lt"/>
                        </a:rPr>
                        <a:t>Has exposure to setting budget </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solidFill>
                            <a:schemeClr val="tx1"/>
                          </a:solidFill>
                          <a:latin typeface="+mn-lt"/>
                        </a:rPr>
                        <a:t>Has participated in master schedule and calendar </a:t>
                      </a:r>
                    </a:p>
                  </a:txBody>
                  <a:tcPr marL="68580" marR="68580" marT="34290" marB="34290">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kern="1200" dirty="0">
                          <a:solidFill>
                            <a:schemeClr val="dk1"/>
                          </a:solidFill>
                          <a:latin typeface="+mn-lt"/>
                          <a:ea typeface="+mn-ea"/>
                          <a:cs typeface="+mn-cs"/>
                        </a:rPr>
                        <a:t>Balances short and long-term thinking with present needs and pressure</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kern="1200" dirty="0">
                          <a:solidFill>
                            <a:schemeClr val="dk1"/>
                          </a:solidFill>
                          <a:latin typeface="+mn-lt"/>
                          <a:ea typeface="+mn-ea"/>
                          <a:cs typeface="+mn-cs"/>
                        </a:rPr>
                        <a:t>Can set goals and milestones to help the team/organization move towards an ambitious vision</a:t>
                      </a:r>
                      <a:endParaRPr lang="en-US" sz="1100" dirty="0">
                        <a:solidFill>
                          <a:schemeClr val="tx1"/>
                        </a:solidFill>
                        <a:latin typeface="+mn-lt"/>
                      </a:endParaRPr>
                    </a:p>
                  </a:txBody>
                  <a:tcPr marL="68580" marR="68580" marT="34290" marB="34290">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chemeClr val="bg1"/>
                    </a:solidFill>
                  </a:tcPr>
                </a:tc>
                <a:extLst>
                  <a:ext uri="{0D108BD9-81ED-4DB2-BD59-A6C34878D82A}">
                    <a16:rowId xmlns:a16="http://schemas.microsoft.com/office/drawing/2014/main" val="3519700796"/>
                  </a:ext>
                </a:extLst>
              </a:tr>
              <a:tr h="657560">
                <a:tc>
                  <a:txBody>
                    <a:bodyPr/>
                    <a:lstStyle/>
                    <a:p>
                      <a:pPr marL="0" indent="0">
                        <a:buFont typeface="Wingdings" panose="05000000000000000000" pitchFamily="2" charset="2"/>
                        <a:buNone/>
                      </a:pPr>
                      <a:r>
                        <a:rPr lang="en-US" sz="1400" b="1">
                          <a:solidFill>
                            <a:schemeClr val="bg1"/>
                          </a:solidFill>
                          <a:latin typeface="+mn-lt"/>
                        </a:rPr>
                        <a:t>Organizational mindset</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rgbClr val="002F6E"/>
                    </a:solidFill>
                  </a:tcPr>
                </a:tc>
                <a:tc>
                  <a:txBody>
                    <a:bodyPr/>
                    <a:lstStyle/>
                    <a:p>
                      <a:pPr marL="171450" indent="-171450" algn="ctr">
                        <a:buFont typeface="Wingdings" panose="05000000000000000000" pitchFamily="2" charset="2"/>
                        <a:buChar char="q"/>
                      </a:pPr>
                      <a:r>
                        <a:rPr lang="en-US" sz="2800" b="0" i="1">
                          <a:solidFill>
                            <a:schemeClr val="tx1"/>
                          </a:solidFill>
                          <a:latin typeface="+mn-lt"/>
                        </a:rPr>
                        <a:t> </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chemeClr val="accent3">
                        <a:lumMod val="20000"/>
                        <a:lumOff val="80000"/>
                      </a:schemeClr>
                    </a:solidFill>
                  </a:tcPr>
                </a:tc>
                <a:tc>
                  <a:txBody>
                    <a:bodyPr/>
                    <a:lstStyle/>
                    <a:p>
                      <a:pPr marL="171450" indent="-171450" algn="ctr">
                        <a:buFont typeface="Wingdings" panose="05000000000000000000" pitchFamily="2" charset="2"/>
                        <a:buChar char="q"/>
                      </a:pPr>
                      <a:r>
                        <a:rPr lang="en-US" sz="2800" b="0" i="1">
                          <a:solidFill>
                            <a:schemeClr val="tx1"/>
                          </a:solidFill>
                          <a:latin typeface="+mn-lt"/>
                        </a:rPr>
                        <a:t> </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rgbClr val="FFD9D9"/>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solidFill>
                            <a:schemeClr val="tx1"/>
                          </a:solidFill>
                          <a:latin typeface="+mn-lt"/>
                        </a:rPr>
                        <a:t>Has set a collaborative vision for something important</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solidFill>
                            <a:schemeClr val="tx1"/>
                          </a:solidFill>
                          <a:latin typeface="+mn-lt"/>
                        </a:rPr>
                        <a:t>Has had a responsibility that requires balancing competing/varying priorities within the school or district</a:t>
                      </a:r>
                    </a:p>
                  </a:txBody>
                  <a:tcPr marL="68580" marR="68580" marT="34290" marB="34290">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solidFill>
                            <a:schemeClr val="tx1"/>
                          </a:solidFill>
                          <a:latin typeface="+mn-lt"/>
                        </a:rPr>
                        <a:t>Ability to connect individual goals, initiatives, or teams with the broader vision of the school</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solidFill>
                            <a:schemeClr val="tx1"/>
                          </a:solidFill>
                          <a:latin typeface="+mn-lt"/>
                        </a:rPr>
                        <a:t>Consistently anticipates the impact of individual decisions on the school and prioritizes the whole school over smaller units </a:t>
                      </a:r>
                    </a:p>
                  </a:txBody>
                  <a:tcPr marL="68580" marR="68580" marT="34290" marB="34290">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chemeClr val="bg1"/>
                    </a:solidFill>
                  </a:tcPr>
                </a:tc>
                <a:extLst>
                  <a:ext uri="{0D108BD9-81ED-4DB2-BD59-A6C34878D82A}">
                    <a16:rowId xmlns:a16="http://schemas.microsoft.com/office/drawing/2014/main" val="1020604484"/>
                  </a:ext>
                </a:extLst>
              </a:tr>
              <a:tr h="657560">
                <a:tc>
                  <a:txBody>
                    <a:bodyPr/>
                    <a:lstStyle/>
                    <a:p>
                      <a:pPr marL="0" indent="0">
                        <a:buFont typeface="Wingdings" panose="05000000000000000000" pitchFamily="2" charset="2"/>
                        <a:buNone/>
                      </a:pPr>
                      <a:r>
                        <a:rPr lang="en-US" sz="1400" b="1">
                          <a:solidFill>
                            <a:schemeClr val="bg1"/>
                          </a:solidFill>
                          <a:latin typeface="+mn-lt"/>
                        </a:rPr>
                        <a:t>Communication</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rgbClr val="002F6E"/>
                    </a:solidFill>
                  </a:tcPr>
                </a:tc>
                <a:tc>
                  <a:txBody>
                    <a:bodyPr/>
                    <a:lstStyle/>
                    <a:p>
                      <a:pPr marL="171450" indent="-171450" algn="ctr">
                        <a:buFont typeface="Wingdings" panose="05000000000000000000" pitchFamily="2" charset="2"/>
                        <a:buChar char="q"/>
                      </a:pPr>
                      <a:r>
                        <a:rPr lang="en-US" sz="2800" b="0" i="1">
                          <a:solidFill>
                            <a:schemeClr val="tx1"/>
                          </a:solidFill>
                          <a:latin typeface="+mn-lt"/>
                        </a:rPr>
                        <a:t> </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chemeClr val="accent3">
                        <a:lumMod val="20000"/>
                        <a:lumOff val="80000"/>
                      </a:schemeClr>
                    </a:solidFill>
                  </a:tcPr>
                </a:tc>
                <a:tc>
                  <a:txBody>
                    <a:bodyPr/>
                    <a:lstStyle/>
                    <a:p>
                      <a:pPr marL="171450" indent="-171450" algn="ctr">
                        <a:buFont typeface="Wingdings" panose="05000000000000000000" pitchFamily="2" charset="2"/>
                        <a:buChar char="q"/>
                      </a:pPr>
                      <a:r>
                        <a:rPr lang="en-US" sz="2800" b="0" i="1">
                          <a:solidFill>
                            <a:schemeClr val="tx1"/>
                          </a:solidFill>
                          <a:latin typeface="+mn-lt"/>
                        </a:rPr>
                        <a:t> </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rgbClr val="FFD9D9"/>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latin typeface="+mn-lt"/>
                        </a:rPr>
                        <a:t>Has been responsible for consistent internal communication that teachers and staff rely on for information</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latin typeface="+mn-lt"/>
                        </a:rPr>
                        <a:t>Has managed large scale external communication (parents, community, etc.)</a:t>
                      </a:r>
                    </a:p>
                  </a:txBody>
                  <a:tcPr marL="68580" marR="68580" marT="34290" marB="34290">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latin typeface="+mn-lt"/>
                        </a:rPr>
                        <a:t>Communicates clearly with individuals and group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latin typeface="+mn-lt"/>
                        </a:rPr>
                        <a:t>Ability to communicate through layers of the organization and through various channels/modalitie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latin typeface="+mn-lt"/>
                        </a:rPr>
                        <a:t>Has mindset and strategies to listen and gather input </a:t>
                      </a:r>
                    </a:p>
                  </a:txBody>
                  <a:tcPr marL="68580" marR="68580" marT="34290" marB="34290">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chemeClr val="bg1"/>
                    </a:solidFill>
                  </a:tcPr>
                </a:tc>
                <a:extLst>
                  <a:ext uri="{0D108BD9-81ED-4DB2-BD59-A6C34878D82A}">
                    <a16:rowId xmlns:a16="http://schemas.microsoft.com/office/drawing/2014/main" val="177347772"/>
                  </a:ext>
                </a:extLst>
              </a:tr>
              <a:tr h="537208">
                <a:tc>
                  <a:txBody>
                    <a:bodyPr/>
                    <a:lstStyle/>
                    <a:p>
                      <a:pPr marL="0" indent="0">
                        <a:buFont typeface="Wingdings" panose="05000000000000000000" pitchFamily="2" charset="2"/>
                        <a:buNone/>
                      </a:pPr>
                      <a:r>
                        <a:rPr lang="en-US" sz="1400" b="1">
                          <a:solidFill>
                            <a:schemeClr val="bg1"/>
                          </a:solidFill>
                          <a:latin typeface="+mn-lt"/>
                        </a:rPr>
                        <a:t>Emotional intelligence &amp; maturity</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rgbClr val="002F6E"/>
                    </a:solidFill>
                  </a:tcPr>
                </a:tc>
                <a:tc>
                  <a:txBody>
                    <a:bodyPr/>
                    <a:lstStyle/>
                    <a:p>
                      <a:pPr marL="171450" indent="-171450" algn="ctr">
                        <a:buFont typeface="Wingdings" panose="05000000000000000000" pitchFamily="2" charset="2"/>
                        <a:buChar char="q"/>
                      </a:pPr>
                      <a:r>
                        <a:rPr lang="en-US" sz="2800" b="0" i="1">
                          <a:solidFill>
                            <a:schemeClr val="tx1"/>
                          </a:solidFill>
                          <a:latin typeface="+mn-lt"/>
                        </a:rPr>
                        <a:t> </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chemeClr val="accent3">
                        <a:lumMod val="20000"/>
                        <a:lumOff val="80000"/>
                      </a:schemeClr>
                    </a:solidFill>
                  </a:tcPr>
                </a:tc>
                <a:tc>
                  <a:txBody>
                    <a:bodyPr/>
                    <a:lstStyle/>
                    <a:p>
                      <a:pPr marL="171450" indent="-171450" algn="ctr">
                        <a:buFont typeface="Wingdings" panose="05000000000000000000" pitchFamily="2" charset="2"/>
                        <a:buChar char="q"/>
                      </a:pPr>
                      <a:r>
                        <a:rPr lang="en-US" sz="2800" b="0" i="1">
                          <a:solidFill>
                            <a:schemeClr val="tx1"/>
                          </a:solidFill>
                          <a:latin typeface="+mn-lt"/>
                        </a:rPr>
                        <a:t> </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rgbClr val="FFD9D9"/>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solidFill>
                            <a:schemeClr val="tx1"/>
                          </a:solidFill>
                          <a:latin typeface="+mn-lt"/>
                        </a:rPr>
                        <a:t>Has managed challenging 1:1 parental or community relationship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solidFill>
                            <a:schemeClr val="tx1"/>
                          </a:solidFill>
                          <a:latin typeface="+mn-lt"/>
                        </a:rPr>
                        <a:t>Has managed challenging 1:1 or team dynamics with teachers</a:t>
                      </a:r>
                    </a:p>
                  </a:txBody>
                  <a:tcPr marL="68580" marR="68580" marT="34290" marB="34290">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latin typeface="+mn-lt"/>
                        </a:rPr>
                        <a:t>Has the diverse experience and emotional intelligence required to meet the stress/needs of and adapt to a variety of scenarios and stakeholders </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lang="en-US" sz="1100">
                        <a:solidFill>
                          <a:schemeClr val="tx1"/>
                        </a:solidFill>
                        <a:latin typeface="+mn-lt"/>
                      </a:endParaRPr>
                    </a:p>
                  </a:txBody>
                  <a:tcPr marL="68580" marR="68580" marT="34290" marB="34290">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lgDash"/>
                      <a:round/>
                      <a:headEnd type="none" w="med" len="med"/>
                      <a:tailEnd type="none" w="med" len="med"/>
                    </a:lnB>
                    <a:solidFill>
                      <a:schemeClr val="bg1"/>
                    </a:solidFill>
                  </a:tcPr>
                </a:tc>
                <a:extLst>
                  <a:ext uri="{0D108BD9-81ED-4DB2-BD59-A6C34878D82A}">
                    <a16:rowId xmlns:a16="http://schemas.microsoft.com/office/drawing/2014/main" val="4158309520"/>
                  </a:ext>
                </a:extLst>
              </a:tr>
              <a:tr h="657560">
                <a:tc>
                  <a:txBody>
                    <a:bodyPr/>
                    <a:lstStyle/>
                    <a:p>
                      <a:pPr marL="0" indent="0">
                        <a:buFont typeface="Wingdings" panose="05000000000000000000" pitchFamily="2" charset="2"/>
                        <a:buNone/>
                      </a:pPr>
                      <a:r>
                        <a:rPr lang="en-US" sz="1400" b="1">
                          <a:solidFill>
                            <a:schemeClr val="bg1"/>
                          </a:solidFill>
                          <a:latin typeface="+mn-lt"/>
                        </a:rPr>
                        <a:t>Team culture &amp; cohesion</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2F6E"/>
                    </a:solidFill>
                  </a:tcPr>
                </a:tc>
                <a:tc>
                  <a:txBody>
                    <a:bodyPr/>
                    <a:lstStyle/>
                    <a:p>
                      <a:pPr marL="171450" indent="-171450" algn="ctr">
                        <a:buFont typeface="Wingdings" panose="05000000000000000000" pitchFamily="2" charset="2"/>
                        <a:buChar char="q"/>
                      </a:pPr>
                      <a:r>
                        <a:rPr lang="en-US" sz="2800" b="0" i="1">
                          <a:solidFill>
                            <a:schemeClr val="tx1"/>
                          </a:solidFill>
                          <a:latin typeface="+mn-lt"/>
                        </a:rPr>
                        <a:t> </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3">
                        <a:lumMod val="20000"/>
                        <a:lumOff val="80000"/>
                      </a:schemeClr>
                    </a:solidFill>
                  </a:tcPr>
                </a:tc>
                <a:tc>
                  <a:txBody>
                    <a:bodyPr/>
                    <a:lstStyle/>
                    <a:p>
                      <a:pPr marL="171450" indent="-171450" algn="ctr">
                        <a:buFont typeface="Wingdings" panose="05000000000000000000" pitchFamily="2" charset="2"/>
                        <a:buChar char="q"/>
                      </a:pPr>
                      <a:r>
                        <a:rPr lang="en-US" sz="2800" b="0" i="1">
                          <a:solidFill>
                            <a:schemeClr val="tx1"/>
                          </a:solidFill>
                          <a:latin typeface="+mn-lt"/>
                        </a:rPr>
                        <a:t> </a:t>
                      </a:r>
                    </a:p>
                  </a:txBody>
                  <a:tcPr marL="68580" marR="68580" marT="34290" marB="34290" anchor="ctr">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D9D9"/>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solidFill>
                            <a:schemeClr val="tx1"/>
                          </a:solidFill>
                          <a:latin typeface="+mn-lt"/>
                        </a:rPr>
                        <a:t>Has experience with supervision and performance management</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a:solidFill>
                            <a:schemeClr val="tx1"/>
                          </a:solidFill>
                          <a:latin typeface="+mn-lt"/>
                        </a:rPr>
                        <a:t>Has been responsible for the culture/engagement of a group</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lang="en-US" sz="1100">
                        <a:solidFill>
                          <a:schemeClr val="tx1"/>
                        </a:solidFill>
                        <a:latin typeface="+mn-lt"/>
                      </a:endParaRPr>
                    </a:p>
                  </a:txBody>
                  <a:tcPr marL="68580" marR="68580" marT="34290" marB="34290">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dirty="0">
                          <a:latin typeface="+mn-lt"/>
                        </a:rPr>
                        <a:t>Ability to build strong relationships and bring out the best in other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100" dirty="0">
                          <a:latin typeface="+mn-lt"/>
                        </a:rPr>
                        <a:t>Has skills to build a strong team culture and a track record of supporting other adults to work together to achieve results</a:t>
                      </a:r>
                      <a:endParaRPr lang="en-US" sz="1100" dirty="0">
                        <a:solidFill>
                          <a:schemeClr val="tx1"/>
                        </a:solidFill>
                        <a:latin typeface="+mn-lt"/>
                      </a:endParaRPr>
                    </a:p>
                  </a:txBody>
                  <a:tcPr marL="68580" marR="68580" marT="34290" marB="34290">
                    <a:lnT w="12700" cap="flat" cmpd="sng" algn="ctr">
                      <a:solidFill>
                        <a:schemeClr val="bg1">
                          <a:lumMod val="65000"/>
                        </a:schemeClr>
                      </a:solidFill>
                      <a:prstDash val="lgDash"/>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4700319"/>
                  </a:ext>
                </a:extLst>
              </a:tr>
            </a:tbl>
          </a:graphicData>
        </a:graphic>
      </p:graphicFrame>
      <p:sp>
        <p:nvSpPr>
          <p:cNvPr id="6" name="TextBox 5">
            <a:extLst>
              <a:ext uri="{FF2B5EF4-FFF2-40B4-BE49-F238E27FC236}">
                <a16:creationId xmlns:a16="http://schemas.microsoft.com/office/drawing/2014/main" id="{23BAD066-44C0-A455-2454-D835951879E8}"/>
              </a:ext>
            </a:extLst>
          </p:cNvPr>
          <p:cNvSpPr txBox="1"/>
          <p:nvPr/>
        </p:nvSpPr>
        <p:spPr>
          <a:xfrm>
            <a:off x="546968" y="756650"/>
            <a:ext cx="11098061" cy="553998"/>
          </a:xfrm>
          <a:prstGeom prst="rect">
            <a:avLst/>
          </a:prstGeom>
          <a:noFill/>
        </p:spPr>
        <p:txBody>
          <a:bodyPr wrap="square" lIns="0" tIns="0" rIns="0" bIns="0" rtlCol="0" anchor="t">
            <a:spAutoFit/>
          </a:bodyPr>
          <a:lstStyle/>
          <a:p>
            <a:r>
              <a:rPr lang="en-US" sz="1200" b="1" u="sng" dirty="0">
                <a:latin typeface="Gill Sans Nova"/>
              </a:rPr>
              <a:t>Criteria defining potential for leadership </a:t>
            </a:r>
            <a:endParaRPr lang="en-US" sz="1200" b="1" u="sng" dirty="0">
              <a:latin typeface="Gill Sans Nova" panose="020B0602020104020203" pitchFamily="34" charset="0"/>
            </a:endParaRPr>
          </a:p>
          <a:p>
            <a:r>
              <a:rPr lang="en-US" sz="1200" dirty="0">
                <a:latin typeface="Gill Sans Nova"/>
              </a:rPr>
              <a:t>The following are six criteria that we believe characterize a person with high potential to be successful on day 1 as a new principal. This baseline definition will assist you in beginning the identification process and in establishing a customized version that is specific to your district’s needs.</a:t>
            </a:r>
          </a:p>
        </p:txBody>
      </p:sp>
      <p:sp>
        <p:nvSpPr>
          <p:cNvPr id="7" name="Rectangle 6">
            <a:extLst>
              <a:ext uri="{FF2B5EF4-FFF2-40B4-BE49-F238E27FC236}">
                <a16:creationId xmlns:a16="http://schemas.microsoft.com/office/drawing/2014/main" id="{D16F91FF-1E7C-D427-8E88-35FB4556AB42}"/>
              </a:ext>
            </a:extLst>
          </p:cNvPr>
          <p:cNvSpPr/>
          <p:nvPr/>
        </p:nvSpPr>
        <p:spPr>
          <a:xfrm>
            <a:off x="0" y="0"/>
            <a:ext cx="12191999" cy="474941"/>
          </a:xfrm>
          <a:prstGeom prst="rect">
            <a:avLst/>
          </a:prstGeom>
          <a:solidFill>
            <a:srgbClr val="002F6E"/>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extBox 7">
            <a:extLst>
              <a:ext uri="{FF2B5EF4-FFF2-40B4-BE49-F238E27FC236}">
                <a16:creationId xmlns:a16="http://schemas.microsoft.com/office/drawing/2014/main" id="{1665353F-B63E-FF96-5954-A7438B902C29}"/>
              </a:ext>
            </a:extLst>
          </p:cNvPr>
          <p:cNvSpPr txBox="1"/>
          <p:nvPr/>
        </p:nvSpPr>
        <p:spPr>
          <a:xfrm>
            <a:off x="198581" y="70778"/>
            <a:ext cx="10360860" cy="276999"/>
          </a:xfrm>
          <a:prstGeom prst="rect">
            <a:avLst/>
          </a:prstGeom>
          <a:noFill/>
        </p:spPr>
        <p:txBody>
          <a:bodyPr wrap="square" lIns="0" tIns="0" rIns="0" bIns="0" anchor="ctr">
            <a:spAutoFit/>
          </a:bodyPr>
          <a:lstStyle/>
          <a:p>
            <a:r>
              <a:rPr lang="en-US" b="1" dirty="0">
                <a:solidFill>
                  <a:schemeClr val="accent1"/>
                </a:solidFill>
                <a:latin typeface="Gill Sans Nova" panose="020B0602020104020203" pitchFamily="34" charset="0"/>
              </a:rPr>
              <a:t>Starter Criteria | </a:t>
            </a:r>
            <a:r>
              <a:rPr lang="en-US" b="1" dirty="0">
                <a:solidFill>
                  <a:schemeClr val="bg1"/>
                </a:solidFill>
                <a:latin typeface="Gill Sans Nova" panose="020B0602020104020203" pitchFamily="34" charset="0"/>
              </a:rPr>
              <a:t>Leaders with high potential to be successful principals on day 1</a:t>
            </a:r>
          </a:p>
        </p:txBody>
      </p:sp>
      <p:pic>
        <p:nvPicPr>
          <p:cNvPr id="9" name="Picture 8">
            <a:extLst>
              <a:ext uri="{FF2B5EF4-FFF2-40B4-BE49-F238E27FC236}">
                <a16:creationId xmlns:a16="http://schemas.microsoft.com/office/drawing/2014/main" id="{540BAD7B-A737-BA28-1F6A-7BEFFA68D7CC}"/>
              </a:ext>
            </a:extLst>
          </p:cNvPr>
          <p:cNvPicPr>
            <a:picLocks noChangeAspect="1"/>
          </p:cNvPicPr>
          <p:nvPr/>
        </p:nvPicPr>
        <p:blipFill>
          <a:blip r:embed="rId2"/>
          <a:stretch>
            <a:fillRect/>
          </a:stretch>
        </p:blipFill>
        <p:spPr>
          <a:xfrm>
            <a:off x="11374306" y="76584"/>
            <a:ext cx="727826" cy="240334"/>
          </a:xfrm>
          <a:prstGeom prst="rect">
            <a:avLst/>
          </a:prstGeom>
        </p:spPr>
      </p:pic>
    </p:spTree>
    <p:extLst>
      <p:ext uri="{BB962C8B-B14F-4D97-AF65-F5344CB8AC3E}">
        <p14:creationId xmlns:p14="http://schemas.microsoft.com/office/powerpoint/2010/main" val="29199690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632AE1F-0065-6BB7-3BB8-4BE4B2523D47}"/>
              </a:ext>
            </a:extLst>
          </p:cNvPr>
          <p:cNvGraphicFramePr>
            <a:graphicFrameLocks noChangeAspect="1"/>
          </p:cNvGraphicFramePr>
          <p:nvPr>
            <p:custDataLst>
              <p:tags r:id="rId1"/>
            </p:custDataLst>
            <p:extLst>
              <p:ext uri="{D42A27DB-BD31-4B8C-83A1-F6EECF244321}">
                <p14:modId xmlns:p14="http://schemas.microsoft.com/office/powerpoint/2010/main" val="251802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F632AE1F-0065-6BB7-3BB8-4BE4B2523D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21274D9-F72A-B9BA-7B37-4AB6B0CE7AC9}"/>
              </a:ext>
            </a:extLst>
          </p:cNvPr>
          <p:cNvSpPr>
            <a:spLocks noGrp="1"/>
          </p:cNvSpPr>
          <p:nvPr>
            <p:ph type="title"/>
          </p:nvPr>
        </p:nvSpPr>
        <p:spPr/>
        <p:txBody>
          <a:bodyPr vert="horz"/>
          <a:lstStyle/>
          <a:p>
            <a:r>
              <a:rPr lang="en-US" dirty="0">
                <a:solidFill>
                  <a:schemeClr val="accent1"/>
                </a:solidFill>
              </a:rPr>
              <a:t>Identify Leaders question 2 | </a:t>
            </a:r>
            <a:r>
              <a:rPr lang="en-US" sz="2800" dirty="0"/>
              <a:t>Who has </a:t>
            </a:r>
            <a:r>
              <a:rPr lang="en-US" sz="2800" b="1" dirty="0"/>
              <a:t>high potential </a:t>
            </a:r>
            <a:r>
              <a:rPr lang="en-US" sz="2800" dirty="0"/>
              <a:t>to be successful as a principal with some focused development?</a:t>
            </a:r>
            <a:endParaRPr lang="en-US" dirty="0"/>
          </a:p>
        </p:txBody>
      </p:sp>
      <p:sp>
        <p:nvSpPr>
          <p:cNvPr id="14" name="Rectangle 13">
            <a:extLst>
              <a:ext uri="{FF2B5EF4-FFF2-40B4-BE49-F238E27FC236}">
                <a16:creationId xmlns:a16="http://schemas.microsoft.com/office/drawing/2014/main" id="{06AD4ADE-FF88-B428-E53E-1434289D925A}"/>
              </a:ext>
            </a:extLst>
          </p:cNvPr>
          <p:cNvSpPr/>
          <p:nvPr/>
        </p:nvSpPr>
        <p:spPr>
          <a:xfrm>
            <a:off x="6762726" y="1217013"/>
            <a:ext cx="4086966" cy="24441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lvl="1" fontAlgn="b">
              <a:buClr>
                <a:schemeClr val="accent1"/>
              </a:buClr>
              <a:buSzPct val="100000"/>
            </a:pPr>
            <a:r>
              <a:rPr lang="en-US" b="1" dirty="0">
                <a:solidFill>
                  <a:srgbClr val="002F6E"/>
                </a:solidFill>
                <a:latin typeface="+mj-lt"/>
              </a:rPr>
              <a:t>Leveraging the Identification Filters</a:t>
            </a:r>
            <a:endParaRPr lang="en-US" b="1" i="0" u="none" strike="noStrike" dirty="0">
              <a:solidFill>
                <a:srgbClr val="002F6E"/>
              </a:solidFill>
              <a:effectLst/>
              <a:latin typeface="+mj-lt"/>
            </a:endParaRPr>
          </a:p>
        </p:txBody>
      </p:sp>
      <p:sp>
        <p:nvSpPr>
          <p:cNvPr id="15" name="Rectangle 14">
            <a:extLst>
              <a:ext uri="{FF2B5EF4-FFF2-40B4-BE49-F238E27FC236}">
                <a16:creationId xmlns:a16="http://schemas.microsoft.com/office/drawing/2014/main" id="{268FB826-F0DC-84EC-422D-836D45329610}"/>
              </a:ext>
            </a:extLst>
          </p:cNvPr>
          <p:cNvSpPr/>
          <p:nvPr/>
        </p:nvSpPr>
        <p:spPr>
          <a:xfrm>
            <a:off x="6762726" y="1619718"/>
            <a:ext cx="5069056" cy="47738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r>
              <a:rPr lang="en-US" sz="1400" u="none" strike="noStrike" dirty="0">
                <a:solidFill>
                  <a:schemeClr val="tx1"/>
                </a:solidFill>
                <a:effectLst/>
                <a:latin typeface="+mj-lt"/>
              </a:rPr>
              <a:t>As you adjust the filters you will see the list of potential leaders change at the bottom of the Identify page, showing you their various qualifications.</a:t>
            </a:r>
            <a:r>
              <a:rPr lang="en-US" sz="1400" dirty="0">
                <a:solidFill>
                  <a:schemeClr val="tx1"/>
                </a:solidFill>
                <a:latin typeface="+mj-lt"/>
              </a:rPr>
              <a:t> At this point in the process it will make sense to begin looking at individuals and having conversations about their readiness.</a:t>
            </a:r>
          </a:p>
          <a:p>
            <a:endParaRPr lang="en-US" sz="1400" dirty="0">
              <a:solidFill>
                <a:schemeClr val="tx1"/>
              </a:solidFill>
              <a:latin typeface="+mj-lt"/>
            </a:endParaRPr>
          </a:p>
          <a:p>
            <a:r>
              <a:rPr lang="en-US" sz="1400" dirty="0">
                <a:solidFill>
                  <a:schemeClr val="tx1"/>
                </a:solidFill>
                <a:latin typeface="+mj-lt"/>
              </a:rPr>
              <a:t>Click through to individual profiles using the links provided  for each person as you discuss their readiness. You can start with the data displayed in their profile and then move to the more granular criteria you have defined for readiness (e.g., slide 26). Principals, principal supervisors, and self-ratings can provide important input for this step. This can be gathered via survey or in-person career conversations with the individual.</a:t>
            </a:r>
          </a:p>
          <a:p>
            <a:endParaRPr lang="en-US" sz="1400" dirty="0">
              <a:solidFill>
                <a:schemeClr val="tx1"/>
              </a:solidFill>
              <a:latin typeface="+mj-lt"/>
            </a:endParaRPr>
          </a:p>
          <a:p>
            <a:r>
              <a:rPr lang="en-US" sz="1400" dirty="0">
                <a:solidFill>
                  <a:schemeClr val="tx1"/>
                </a:solidFill>
                <a:latin typeface="+mj-lt"/>
              </a:rPr>
              <a:t>As you go through this exercise we recommend documenting your conversation in two ways: 1) Estimate the timeline for this individual to be ready for the principalship (e.g., Now, 6 months, 1 year, 2-3 years) and 2) Document the readiness gaps you discuss based on your district’s criteria. While you cannot input the outcomes of your conversation directly into the tool, we encourage you to document this data in a secure file. Consider using the template on slide 29. </a:t>
            </a:r>
          </a:p>
        </p:txBody>
      </p:sp>
      <p:pic>
        <p:nvPicPr>
          <p:cNvPr id="7" name="Picture 6">
            <a:extLst>
              <a:ext uri="{FF2B5EF4-FFF2-40B4-BE49-F238E27FC236}">
                <a16:creationId xmlns:a16="http://schemas.microsoft.com/office/drawing/2014/main" id="{F47F65FD-4E7A-F620-162F-51F1FB5DF536}"/>
              </a:ext>
            </a:extLst>
          </p:cNvPr>
          <p:cNvPicPr>
            <a:picLocks noChangeAspect="1"/>
          </p:cNvPicPr>
          <p:nvPr/>
        </p:nvPicPr>
        <p:blipFill>
          <a:blip r:embed="rId6"/>
          <a:srcRect t="618" b="618"/>
          <a:stretch/>
        </p:blipFill>
        <p:spPr>
          <a:xfrm>
            <a:off x="426581" y="1339222"/>
            <a:ext cx="5069056" cy="31208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 name="Picture 2">
            <a:extLst>
              <a:ext uri="{FF2B5EF4-FFF2-40B4-BE49-F238E27FC236}">
                <a16:creationId xmlns:a16="http://schemas.microsoft.com/office/drawing/2014/main" id="{0E3329ED-068F-6BE4-09F0-06234E22EF82}"/>
              </a:ext>
            </a:extLst>
          </p:cNvPr>
          <p:cNvPicPr>
            <a:picLocks noChangeAspect="1"/>
          </p:cNvPicPr>
          <p:nvPr/>
        </p:nvPicPr>
        <p:blipFill>
          <a:blip r:embed="rId7"/>
          <a:srcRect/>
          <a:stretch/>
        </p:blipFill>
        <p:spPr>
          <a:xfrm>
            <a:off x="1612180" y="2935132"/>
            <a:ext cx="4838677" cy="30499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190771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632AE1F-0065-6BB7-3BB8-4BE4B2523D47}"/>
              </a:ext>
            </a:extLst>
          </p:cNvPr>
          <p:cNvGraphicFramePr>
            <a:graphicFrameLocks noChangeAspect="1"/>
          </p:cNvGraphicFramePr>
          <p:nvPr>
            <p:custDataLst>
              <p:tags r:id="rId1"/>
            </p:custDataLst>
            <p:extLst>
              <p:ext uri="{D42A27DB-BD31-4B8C-83A1-F6EECF244321}">
                <p14:modId xmlns:p14="http://schemas.microsoft.com/office/powerpoint/2010/main" val="258168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632AE1F-0065-6BB7-3BB8-4BE4B2523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21274D9-F72A-B9BA-7B37-4AB6B0CE7AC9}"/>
              </a:ext>
            </a:extLst>
          </p:cNvPr>
          <p:cNvSpPr>
            <a:spLocks noGrp="1"/>
          </p:cNvSpPr>
          <p:nvPr>
            <p:ph type="title"/>
          </p:nvPr>
        </p:nvSpPr>
        <p:spPr/>
        <p:txBody>
          <a:bodyPr vert="horz"/>
          <a:lstStyle/>
          <a:p>
            <a:r>
              <a:rPr lang="en-US" dirty="0">
                <a:solidFill>
                  <a:schemeClr val="accent1"/>
                </a:solidFill>
              </a:rPr>
              <a:t>Identify Leaders question 3 | </a:t>
            </a:r>
            <a:r>
              <a:rPr lang="en-US" sz="2800" dirty="0"/>
              <a:t>Who </a:t>
            </a:r>
            <a:r>
              <a:rPr lang="en-US" sz="2800" b="1" dirty="0"/>
              <a:t>aspires</a:t>
            </a:r>
            <a:r>
              <a:rPr lang="en-US" sz="2800" dirty="0"/>
              <a:t> to be a principal?</a:t>
            </a:r>
            <a:endParaRPr lang="en-US" dirty="0"/>
          </a:p>
        </p:txBody>
      </p:sp>
      <p:sp>
        <p:nvSpPr>
          <p:cNvPr id="14" name="Rectangle 13">
            <a:extLst>
              <a:ext uri="{FF2B5EF4-FFF2-40B4-BE49-F238E27FC236}">
                <a16:creationId xmlns:a16="http://schemas.microsoft.com/office/drawing/2014/main" id="{06AD4ADE-FF88-B428-E53E-1434289D925A}"/>
              </a:ext>
            </a:extLst>
          </p:cNvPr>
          <p:cNvSpPr/>
          <p:nvPr/>
        </p:nvSpPr>
        <p:spPr>
          <a:xfrm>
            <a:off x="2021030" y="910889"/>
            <a:ext cx="5265595" cy="4370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lvl="1" fontAlgn="b">
              <a:buClr>
                <a:schemeClr val="accent1"/>
              </a:buClr>
              <a:buSzPct val="100000"/>
            </a:pPr>
            <a:r>
              <a:rPr lang="en-US" sz="1400" b="1" dirty="0">
                <a:solidFill>
                  <a:schemeClr val="tx2"/>
                </a:solidFill>
                <a:latin typeface="+mj-lt"/>
              </a:rPr>
              <a:t>If a leader has indicated that they aspire to the next role in their leadership journey this symbol will appear under their name</a:t>
            </a:r>
            <a:endParaRPr lang="en-US" sz="1400" b="1" strike="noStrike" dirty="0">
              <a:solidFill>
                <a:schemeClr val="tx2"/>
              </a:solidFill>
              <a:effectLst/>
              <a:latin typeface="+mj-lt"/>
            </a:endParaRPr>
          </a:p>
        </p:txBody>
      </p:sp>
      <p:sp>
        <p:nvSpPr>
          <p:cNvPr id="15" name="Rectangle 14">
            <a:extLst>
              <a:ext uri="{FF2B5EF4-FFF2-40B4-BE49-F238E27FC236}">
                <a16:creationId xmlns:a16="http://schemas.microsoft.com/office/drawing/2014/main" id="{268FB826-F0DC-84EC-422D-836D45329610}"/>
              </a:ext>
            </a:extLst>
          </p:cNvPr>
          <p:cNvSpPr/>
          <p:nvPr/>
        </p:nvSpPr>
        <p:spPr>
          <a:xfrm>
            <a:off x="355600" y="1504462"/>
            <a:ext cx="11318192" cy="44426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b" latinLnBrk="0" hangingPunct="1">
              <a:lnSpc>
                <a:spcPct val="100000"/>
              </a:lnSpc>
              <a:spcBef>
                <a:spcPts val="0"/>
              </a:spcBef>
              <a:spcAft>
                <a:spcPts val="0"/>
              </a:spcAft>
              <a:buClr>
                <a:srgbClr val="FEA300"/>
              </a:buClr>
              <a:buSzPct val="100000"/>
              <a:buFontTx/>
              <a:buNone/>
              <a:tabLst/>
              <a:defRPr/>
            </a:pPr>
            <a:r>
              <a:rPr kumimoji="0" lang="en-US" sz="1600" b="1" u="none" strike="noStrike" kern="1200" cap="none" spc="0" normalizeH="0" baseline="0" noProof="0" dirty="0">
                <a:ln>
                  <a:noFill/>
                </a:ln>
                <a:solidFill>
                  <a:srgbClr val="002F6E"/>
                </a:solidFill>
                <a:effectLst/>
                <a:uLnTx/>
                <a:uFillTx/>
                <a:latin typeface="Gill Sans Nova SemiBold"/>
                <a:ea typeface="+mn-ea"/>
                <a:cs typeface="+mn-cs"/>
              </a:rPr>
              <a:t>Why this data matters | </a:t>
            </a:r>
            <a:r>
              <a:rPr kumimoji="0" lang="en-US" sz="1400" u="none" strike="noStrike" kern="1200" cap="none" spc="0" normalizeH="0" baseline="0" noProof="0" dirty="0">
                <a:ln>
                  <a:noFill/>
                </a:ln>
                <a:solidFill>
                  <a:schemeClr val="tx1"/>
                </a:solidFill>
                <a:effectLst/>
                <a:uLnTx/>
                <a:uFillTx/>
                <a:latin typeface="Gill Sans Nova SemiBold"/>
                <a:ea typeface="+mn-ea"/>
                <a:cs typeface="+mn-cs"/>
              </a:rPr>
              <a:t>Districts should be assessing the readiness of all potential leaders in their system on a regular cycle, not just those who raise their hands or who have principals that promote them. That said, it is important to understand who among your staff is currently seeking promotion and on what timetable. This will help you understand the attractiveness of leadership roles in your district, the expected level of movement, and it will also let you see who among your high-potentials may require encouragement to pursue leadership. You may also decide to offer leadership seminars for all who aspire to leadership for them learn more about your district regardless of readiness.</a:t>
            </a:r>
          </a:p>
          <a:p>
            <a:pPr marL="0" marR="0" lvl="1" indent="0" algn="l" defTabSz="914400" rtl="0" eaLnBrk="1" fontAlgn="b" latinLnBrk="0" hangingPunct="1">
              <a:lnSpc>
                <a:spcPct val="100000"/>
              </a:lnSpc>
              <a:spcBef>
                <a:spcPts val="0"/>
              </a:spcBef>
              <a:spcAft>
                <a:spcPts val="0"/>
              </a:spcAft>
              <a:buClr>
                <a:srgbClr val="FEA300"/>
              </a:buClr>
              <a:buSzPct val="100000"/>
              <a:buFontTx/>
              <a:buNone/>
              <a:tabLst/>
              <a:defRPr/>
            </a:pPr>
            <a:endParaRPr kumimoji="0" lang="en-US" sz="1600" b="1" i="0" u="none" strike="noStrike" kern="1200" cap="none" spc="0" normalizeH="0" baseline="0" noProof="0" dirty="0">
              <a:ln>
                <a:noFill/>
              </a:ln>
              <a:solidFill>
                <a:srgbClr val="002F6E"/>
              </a:solidFill>
              <a:effectLst/>
              <a:uLnTx/>
              <a:uFillTx/>
              <a:latin typeface="Gill Sans Nova SemiBold"/>
              <a:ea typeface="+mn-ea"/>
              <a:cs typeface="+mn-cs"/>
            </a:endParaRPr>
          </a:p>
          <a:p>
            <a:pPr marL="0" marR="0" lvl="1" indent="0" algn="l" defTabSz="914400" rtl="0" eaLnBrk="1" fontAlgn="b" latinLnBrk="0" hangingPunct="1">
              <a:lnSpc>
                <a:spcPct val="100000"/>
              </a:lnSpc>
              <a:spcBef>
                <a:spcPts val="0"/>
              </a:spcBef>
              <a:spcAft>
                <a:spcPts val="0"/>
              </a:spcAft>
              <a:buClr>
                <a:srgbClr val="FEA300"/>
              </a:buClr>
              <a:buSzPct val="100000"/>
              <a:buFontTx/>
              <a:buNone/>
              <a:tabLst/>
              <a:defRPr/>
            </a:pPr>
            <a:r>
              <a:rPr kumimoji="0" lang="en-US" sz="1600" b="1" i="0" u="none" strike="noStrike" kern="1200" cap="none" spc="0" normalizeH="0" baseline="0" noProof="0" dirty="0">
                <a:ln>
                  <a:noFill/>
                </a:ln>
                <a:solidFill>
                  <a:srgbClr val="002F6E"/>
                </a:solidFill>
                <a:effectLst/>
                <a:uLnTx/>
                <a:uFillTx/>
                <a:latin typeface="Gill Sans Nova SemiBold"/>
                <a:ea typeface="+mn-ea"/>
                <a:cs typeface="+mn-cs"/>
              </a:rPr>
              <a:t>Tracking who aspires to be a principal</a:t>
            </a:r>
          </a:p>
          <a:p>
            <a:r>
              <a:rPr lang="en-US" sz="1400" u="none" strike="noStrike" dirty="0">
                <a:solidFill>
                  <a:schemeClr val="tx1"/>
                </a:solidFill>
                <a:effectLst/>
                <a:latin typeface="+mj-lt"/>
              </a:rPr>
              <a:t>Most districts do not currently track who aspires to be a principal among their APs and teachers. Here are two common methods for collecting this data:</a:t>
            </a:r>
          </a:p>
          <a:p>
            <a:endParaRPr lang="en-US" sz="1400" u="none" strike="noStrike" dirty="0">
              <a:solidFill>
                <a:schemeClr val="tx1"/>
              </a:solidFill>
              <a:effectLst/>
              <a:latin typeface="+mj-lt"/>
            </a:endParaRPr>
          </a:p>
          <a:p>
            <a:pPr marL="203200" lvl="1" indent="-203200">
              <a:buClr>
                <a:schemeClr val="accent1"/>
              </a:buClr>
              <a:buSzPct val="100000"/>
              <a:buAutoNum type="arabicPeriod"/>
            </a:pPr>
            <a:r>
              <a:rPr lang="en-US" sz="1400" b="1" u="none" strike="noStrike" dirty="0">
                <a:solidFill>
                  <a:schemeClr val="tx1"/>
                </a:solidFill>
                <a:effectLst/>
                <a:latin typeface="+mj-lt"/>
              </a:rPr>
              <a:t>Survey: </a:t>
            </a:r>
            <a:r>
              <a:rPr lang="en-US" sz="1400" u="none" strike="noStrike" dirty="0">
                <a:solidFill>
                  <a:schemeClr val="tx1"/>
                </a:solidFill>
                <a:effectLst/>
                <a:latin typeface="+mj-lt"/>
              </a:rPr>
              <a:t>A district can use surveys to gather information on the aspirations of assistant principal-level staff by asking questions such as:</a:t>
            </a:r>
          </a:p>
          <a:p>
            <a:pPr marL="383200" lvl="2" indent="-180000">
              <a:buClr>
                <a:schemeClr val="accent1"/>
              </a:buClr>
              <a:buSzPct val="100000"/>
              <a:buFont typeface="Courier New" panose="02070309020205020404" pitchFamily="49" charset="0"/>
              <a:buChar char="o"/>
            </a:pPr>
            <a:r>
              <a:rPr lang="en-US" sz="1400" u="none" strike="noStrike" dirty="0">
                <a:solidFill>
                  <a:schemeClr val="tx1"/>
                </a:solidFill>
                <a:effectLst/>
                <a:latin typeface="+mj-lt"/>
              </a:rPr>
              <a:t>Do you aspire to be a principal in your district?</a:t>
            </a:r>
          </a:p>
          <a:p>
            <a:pPr marL="383200" lvl="2" indent="-180000">
              <a:buClr>
                <a:schemeClr val="accent1"/>
              </a:buClr>
              <a:buSzPct val="100000"/>
              <a:buFont typeface="Courier New" panose="02070309020205020404" pitchFamily="49" charset="0"/>
              <a:buChar char="o"/>
            </a:pPr>
            <a:r>
              <a:rPr lang="en-US" sz="1400" u="none" strike="noStrike" dirty="0">
                <a:solidFill>
                  <a:schemeClr val="tx1"/>
                </a:solidFill>
                <a:effectLst/>
                <a:latin typeface="+mj-lt"/>
              </a:rPr>
              <a:t>Where do you see yourself in the next two to three years?</a:t>
            </a:r>
          </a:p>
          <a:p>
            <a:pPr marL="383200" lvl="2" indent="-180000">
              <a:buClr>
                <a:schemeClr val="accent1"/>
              </a:buClr>
              <a:buSzPct val="100000"/>
              <a:buFont typeface="Courier New" panose="02070309020205020404" pitchFamily="49" charset="0"/>
              <a:buChar char="o"/>
            </a:pPr>
            <a:r>
              <a:rPr lang="en-US" sz="1400" u="none" strike="noStrike" dirty="0">
                <a:solidFill>
                  <a:schemeClr val="tx1"/>
                </a:solidFill>
                <a:effectLst/>
                <a:latin typeface="+mj-lt"/>
              </a:rPr>
              <a:t>Where do you see yourself in the next four to five years?</a:t>
            </a:r>
          </a:p>
          <a:p>
            <a:pPr marL="383200" lvl="2" indent="-180000">
              <a:buClr>
                <a:schemeClr val="accent1"/>
              </a:buClr>
              <a:buSzPct val="100000"/>
              <a:buFont typeface="Courier New" panose="02070309020205020404" pitchFamily="49" charset="0"/>
              <a:buChar char="o"/>
            </a:pPr>
            <a:r>
              <a:rPr lang="en-US" sz="1400" u="none" strike="noStrike" dirty="0">
                <a:solidFill>
                  <a:schemeClr val="tx1"/>
                </a:solidFill>
                <a:effectLst/>
                <a:latin typeface="+mj-lt"/>
              </a:rPr>
              <a:t>If you feel you are ready to be a principal now, please provide two to three pieces of measurable evidence that could indicate your readiness.</a:t>
            </a:r>
          </a:p>
          <a:p>
            <a:pPr marL="383200" lvl="2" indent="-180000">
              <a:buClr>
                <a:schemeClr val="accent1"/>
              </a:buClr>
              <a:buSzPct val="100000"/>
              <a:buFont typeface="Courier New" panose="02070309020205020404" pitchFamily="49" charset="0"/>
              <a:buChar char="o"/>
            </a:pPr>
            <a:endParaRPr lang="en-US" sz="1400" u="none" strike="noStrike" dirty="0">
              <a:solidFill>
                <a:schemeClr val="tx1"/>
              </a:solidFill>
              <a:effectLst/>
              <a:latin typeface="+mj-lt"/>
            </a:endParaRPr>
          </a:p>
          <a:p>
            <a:pPr marL="203200" lvl="1" indent="-203200">
              <a:buClr>
                <a:schemeClr val="accent1"/>
              </a:buClr>
              <a:buSzPct val="100000"/>
              <a:buAutoNum type="arabicPeriod"/>
            </a:pPr>
            <a:r>
              <a:rPr lang="en-US" sz="1400" b="1" u="none" strike="noStrike" dirty="0">
                <a:solidFill>
                  <a:schemeClr val="tx1"/>
                </a:solidFill>
                <a:effectLst/>
                <a:latin typeface="+mj-lt"/>
              </a:rPr>
              <a:t>Principal Supervisors: </a:t>
            </a:r>
            <a:r>
              <a:rPr lang="en-US" sz="1400" u="none" strike="noStrike" dirty="0">
                <a:solidFill>
                  <a:schemeClr val="tx1"/>
                </a:solidFill>
                <a:effectLst/>
                <a:latin typeface="+mj-lt"/>
              </a:rPr>
              <a:t>This preferred method ensures district leadership understands the aspirations of APs. The process involves principals engaging in evaluation cycle conversations with their APs and adding in a step that asks about their career aspirations. They then pass that information to the principal supervisor where the data is centrally collected.</a:t>
            </a:r>
          </a:p>
          <a:p>
            <a:endParaRPr lang="en-US" sz="1400" u="none" strike="noStrike" dirty="0">
              <a:solidFill>
                <a:schemeClr val="tx1"/>
              </a:solidFill>
              <a:effectLst/>
              <a:latin typeface="+mj-lt"/>
            </a:endParaRPr>
          </a:p>
          <a:p>
            <a:r>
              <a:rPr lang="en-US" sz="1400" b="1" i="1" u="none" strike="noStrike" dirty="0">
                <a:solidFill>
                  <a:schemeClr val="tx1"/>
                </a:solidFill>
                <a:effectLst/>
                <a:latin typeface="+mj-lt"/>
              </a:rPr>
              <a:t>Note:</a:t>
            </a:r>
            <a:r>
              <a:rPr lang="en-US" sz="1400" i="1" u="none" strike="noStrike" dirty="0">
                <a:solidFill>
                  <a:schemeClr val="tx1"/>
                </a:solidFill>
                <a:effectLst/>
                <a:latin typeface="+mj-lt"/>
              </a:rPr>
              <a:t> This data is meant to better serve district leaders in the process by understanding who aspires to the role and should not be considered a final criteria in determining readiness or in hiring decisions.</a:t>
            </a:r>
            <a:endParaRPr lang="en-US" sz="1400" i="1" dirty="0">
              <a:solidFill>
                <a:schemeClr val="tx1"/>
              </a:solidFill>
              <a:latin typeface="+mj-lt"/>
            </a:endParaRPr>
          </a:p>
        </p:txBody>
      </p:sp>
      <p:pic>
        <p:nvPicPr>
          <p:cNvPr id="11" name="Picture 10" descr="A blue flag with black text&#10;&#10;Description automatically generated">
            <a:extLst>
              <a:ext uri="{FF2B5EF4-FFF2-40B4-BE49-F238E27FC236}">
                <a16:creationId xmlns:a16="http://schemas.microsoft.com/office/drawing/2014/main" id="{11FC336E-1443-1E79-DE5C-ED3B78079B82}"/>
              </a:ext>
            </a:extLst>
          </p:cNvPr>
          <p:cNvPicPr>
            <a:picLocks noChangeAspect="1"/>
          </p:cNvPicPr>
          <p:nvPr/>
        </p:nvPicPr>
        <p:blipFill>
          <a:blip r:embed="rId5"/>
          <a:stretch>
            <a:fillRect/>
          </a:stretch>
        </p:blipFill>
        <p:spPr>
          <a:xfrm>
            <a:off x="486039" y="870132"/>
            <a:ext cx="1439741" cy="603135"/>
          </a:xfrm>
          <a:prstGeom prst="rect">
            <a:avLst/>
          </a:prstGeom>
        </p:spPr>
      </p:pic>
    </p:spTree>
    <p:extLst>
      <p:ext uri="{BB962C8B-B14F-4D97-AF65-F5344CB8AC3E}">
        <p14:creationId xmlns:p14="http://schemas.microsoft.com/office/powerpoint/2010/main" val="39227083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632AE1F-0065-6BB7-3BB8-4BE4B2523D47}"/>
              </a:ext>
            </a:extLst>
          </p:cNvPr>
          <p:cNvGraphicFramePr>
            <a:graphicFrameLocks noChangeAspect="1"/>
          </p:cNvGraphicFramePr>
          <p:nvPr>
            <p:custDataLst>
              <p:tags r:id="rId1"/>
            </p:custDataLst>
            <p:extLst>
              <p:ext uri="{D42A27DB-BD31-4B8C-83A1-F6EECF244321}">
                <p14:modId xmlns:p14="http://schemas.microsoft.com/office/powerpoint/2010/main" val="2804064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F632AE1F-0065-6BB7-3BB8-4BE4B2523D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21274D9-F72A-B9BA-7B37-4AB6B0CE7AC9}"/>
              </a:ext>
            </a:extLst>
          </p:cNvPr>
          <p:cNvSpPr>
            <a:spLocks noGrp="1"/>
          </p:cNvSpPr>
          <p:nvPr>
            <p:ph type="title"/>
          </p:nvPr>
        </p:nvSpPr>
        <p:spPr/>
        <p:txBody>
          <a:bodyPr vert="horz"/>
          <a:lstStyle/>
          <a:p>
            <a:r>
              <a:rPr lang="en-US" dirty="0">
                <a:solidFill>
                  <a:schemeClr val="accent1"/>
                </a:solidFill>
              </a:rPr>
              <a:t>Identify Leaders | </a:t>
            </a:r>
            <a:r>
              <a:rPr lang="en-US" sz="2800" b="1" dirty="0"/>
              <a:t>Our current bench</a:t>
            </a:r>
            <a:endParaRPr lang="en-US" dirty="0"/>
          </a:p>
        </p:txBody>
      </p:sp>
      <p:sp>
        <p:nvSpPr>
          <p:cNvPr id="14" name="Rectangle 13">
            <a:extLst>
              <a:ext uri="{FF2B5EF4-FFF2-40B4-BE49-F238E27FC236}">
                <a16:creationId xmlns:a16="http://schemas.microsoft.com/office/drawing/2014/main" id="{06AD4ADE-FF88-B428-E53E-1434289D925A}"/>
              </a:ext>
            </a:extLst>
          </p:cNvPr>
          <p:cNvSpPr/>
          <p:nvPr/>
        </p:nvSpPr>
        <p:spPr>
          <a:xfrm>
            <a:off x="355600" y="872543"/>
            <a:ext cx="9647382" cy="25465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l" fontAlgn="b"/>
            <a:r>
              <a:rPr lang="en-US" i="1" dirty="0">
                <a:solidFill>
                  <a:srgbClr val="002F6E"/>
                </a:solidFill>
                <a:latin typeface="+mj-lt"/>
              </a:rPr>
              <a:t>Template w</a:t>
            </a:r>
            <a:r>
              <a:rPr lang="en-US" i="1" u="none" strike="noStrike" dirty="0">
                <a:solidFill>
                  <a:srgbClr val="002F6E"/>
                </a:solidFill>
                <a:effectLst/>
                <a:latin typeface="+mj-lt"/>
              </a:rPr>
              <a:t>orksheet</a:t>
            </a:r>
            <a:endParaRPr lang="en-US" b="1" i="0" u="none" strike="noStrike" dirty="0">
              <a:solidFill>
                <a:srgbClr val="002F6E"/>
              </a:solidFill>
              <a:effectLst/>
              <a:latin typeface="+mj-lt"/>
            </a:endParaRPr>
          </a:p>
        </p:txBody>
      </p:sp>
      <p:graphicFrame>
        <p:nvGraphicFramePr>
          <p:cNvPr id="2" name="Table 1">
            <a:extLst>
              <a:ext uri="{FF2B5EF4-FFF2-40B4-BE49-F238E27FC236}">
                <a16:creationId xmlns:a16="http://schemas.microsoft.com/office/drawing/2014/main" id="{1F4A7EED-09FD-4563-0519-12DC6EC6B9DE}"/>
              </a:ext>
            </a:extLst>
          </p:cNvPr>
          <p:cNvGraphicFramePr>
            <a:graphicFrameLocks noGrp="1"/>
          </p:cNvGraphicFramePr>
          <p:nvPr>
            <p:extLst>
              <p:ext uri="{D42A27DB-BD31-4B8C-83A1-F6EECF244321}">
                <p14:modId xmlns:p14="http://schemas.microsoft.com/office/powerpoint/2010/main" val="1345380840"/>
              </p:ext>
            </p:extLst>
          </p:nvPr>
        </p:nvGraphicFramePr>
        <p:xfrm>
          <a:off x="336586" y="1333500"/>
          <a:ext cx="11144213" cy="4907120"/>
        </p:xfrm>
        <a:graphic>
          <a:graphicData uri="http://schemas.openxmlformats.org/drawingml/2006/table">
            <a:tbl>
              <a:tblPr firstRow="1" bandRow="1">
                <a:tableStyleId>{5940675A-B579-460E-94D1-54222C63F5DA}</a:tableStyleId>
              </a:tblPr>
              <a:tblGrid>
                <a:gridCol w="1879512">
                  <a:extLst>
                    <a:ext uri="{9D8B030D-6E8A-4147-A177-3AD203B41FA5}">
                      <a16:colId xmlns:a16="http://schemas.microsoft.com/office/drawing/2014/main" val="2906589519"/>
                    </a:ext>
                  </a:extLst>
                </a:gridCol>
                <a:gridCol w="1912162">
                  <a:extLst>
                    <a:ext uri="{9D8B030D-6E8A-4147-A177-3AD203B41FA5}">
                      <a16:colId xmlns:a16="http://schemas.microsoft.com/office/drawing/2014/main" val="260227560"/>
                    </a:ext>
                  </a:extLst>
                </a:gridCol>
                <a:gridCol w="745292">
                  <a:extLst>
                    <a:ext uri="{9D8B030D-6E8A-4147-A177-3AD203B41FA5}">
                      <a16:colId xmlns:a16="http://schemas.microsoft.com/office/drawing/2014/main" val="4051649885"/>
                    </a:ext>
                  </a:extLst>
                </a:gridCol>
                <a:gridCol w="2241623">
                  <a:extLst>
                    <a:ext uri="{9D8B030D-6E8A-4147-A177-3AD203B41FA5}">
                      <a16:colId xmlns:a16="http://schemas.microsoft.com/office/drawing/2014/main" val="1707429882"/>
                    </a:ext>
                  </a:extLst>
                </a:gridCol>
                <a:gridCol w="2029374">
                  <a:extLst>
                    <a:ext uri="{9D8B030D-6E8A-4147-A177-3AD203B41FA5}">
                      <a16:colId xmlns:a16="http://schemas.microsoft.com/office/drawing/2014/main" val="2632668247"/>
                    </a:ext>
                  </a:extLst>
                </a:gridCol>
                <a:gridCol w="2336250">
                  <a:extLst>
                    <a:ext uri="{9D8B030D-6E8A-4147-A177-3AD203B41FA5}">
                      <a16:colId xmlns:a16="http://schemas.microsoft.com/office/drawing/2014/main" val="2899685298"/>
                    </a:ext>
                  </a:extLst>
                </a:gridCol>
              </a:tblGrid>
              <a:tr h="652439">
                <a:tc>
                  <a:txBody>
                    <a:bodyPr/>
                    <a:lstStyle/>
                    <a:p>
                      <a:pPr algn="ctr"/>
                      <a:r>
                        <a:rPr lang="en-US" sz="1300" b="1" dirty="0"/>
                        <a:t>Name</a:t>
                      </a:r>
                    </a:p>
                  </a:txBody>
                  <a:tcPr marL="70919" marR="70919" marT="35460" marB="35460" anchor="ctr">
                    <a:solidFill>
                      <a:schemeClr val="bg1">
                        <a:lumMod val="85000"/>
                      </a:schemeClr>
                    </a:solidFill>
                  </a:tcPr>
                </a:tc>
                <a:tc>
                  <a:txBody>
                    <a:bodyPr/>
                    <a:lstStyle/>
                    <a:p>
                      <a:pPr algn="ctr"/>
                      <a:r>
                        <a:rPr lang="en-US" sz="1300" b="1" dirty="0"/>
                        <a:t>Current position and School</a:t>
                      </a:r>
                    </a:p>
                  </a:txBody>
                  <a:tcPr marL="70919" marR="70919" marT="35460" marB="35460" anchor="ctr">
                    <a:solidFill>
                      <a:schemeClr val="bg1">
                        <a:lumMod val="85000"/>
                      </a:schemeClr>
                    </a:solidFill>
                  </a:tcPr>
                </a:tc>
                <a:tc>
                  <a:txBody>
                    <a:bodyPr/>
                    <a:lstStyle/>
                    <a:p>
                      <a:pPr algn="ctr"/>
                      <a:r>
                        <a:rPr lang="en-US" sz="1300" b="1" dirty="0"/>
                        <a:t>Aspires</a:t>
                      </a:r>
                    </a:p>
                  </a:txBody>
                  <a:tcPr marL="70919" marR="70919" marT="35460" marB="35460" anchor="ctr">
                    <a:solidFill>
                      <a:schemeClr val="bg1">
                        <a:lumMod val="85000"/>
                      </a:schemeClr>
                    </a:solidFill>
                  </a:tcPr>
                </a:tc>
                <a:tc>
                  <a:txBody>
                    <a:bodyPr/>
                    <a:lstStyle/>
                    <a:p>
                      <a:pPr algn="ctr"/>
                      <a:r>
                        <a:rPr lang="en-US" sz="1300" b="1" dirty="0"/>
                        <a:t>Readiness level</a:t>
                      </a:r>
                    </a:p>
                    <a:p>
                      <a:pPr algn="ctr"/>
                      <a:r>
                        <a:rPr lang="en-US" sz="1200" b="0" i="1" dirty="0"/>
                        <a:t>(Ready Now, Ready in 6 months, Ready in 1 year, Ready in 2-3 years, Still developing in current role)</a:t>
                      </a:r>
                    </a:p>
                  </a:txBody>
                  <a:tcPr marL="70919" marR="70919" marT="35460" marB="35460" anchor="ctr">
                    <a:solidFill>
                      <a:schemeClr val="bg1">
                        <a:lumMod val="85000"/>
                      </a:schemeClr>
                    </a:solidFill>
                  </a:tcPr>
                </a:tc>
                <a:tc>
                  <a:txBody>
                    <a:bodyPr/>
                    <a:lstStyle/>
                    <a:p>
                      <a:pPr algn="ctr"/>
                      <a:r>
                        <a:rPr lang="en-US" sz="1300" b="1" dirty="0"/>
                        <a:t>Development priorities</a:t>
                      </a:r>
                    </a:p>
                  </a:txBody>
                  <a:tcPr marL="70919" marR="70919" marT="35460" marB="35460" anchor="ctr">
                    <a:solidFill>
                      <a:schemeClr val="bg1">
                        <a:lumMod val="85000"/>
                      </a:schemeClr>
                    </a:solidFill>
                  </a:tcPr>
                </a:tc>
                <a:tc>
                  <a:txBody>
                    <a:bodyPr/>
                    <a:lstStyle/>
                    <a:p>
                      <a:pPr algn="ctr"/>
                      <a:r>
                        <a:rPr lang="en-US" sz="1300" b="1" dirty="0"/>
                        <a:t>Best-fit development opportunities</a:t>
                      </a:r>
                    </a:p>
                  </a:txBody>
                  <a:tcPr marL="70919" marR="70919" marT="35460" marB="35460" anchor="ctr">
                    <a:solidFill>
                      <a:schemeClr val="bg1">
                        <a:lumMod val="85000"/>
                      </a:schemeClr>
                    </a:solidFill>
                  </a:tcPr>
                </a:tc>
                <a:extLst>
                  <a:ext uri="{0D108BD9-81ED-4DB2-BD59-A6C34878D82A}">
                    <a16:rowId xmlns:a16="http://schemas.microsoft.com/office/drawing/2014/main" val="3171363157"/>
                  </a:ext>
                </a:extLst>
              </a:tr>
              <a:tr h="417789">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extLst>
                  <a:ext uri="{0D108BD9-81ED-4DB2-BD59-A6C34878D82A}">
                    <a16:rowId xmlns:a16="http://schemas.microsoft.com/office/drawing/2014/main" val="4187856437"/>
                  </a:ext>
                </a:extLst>
              </a:tr>
              <a:tr h="417789">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extLst>
                  <a:ext uri="{0D108BD9-81ED-4DB2-BD59-A6C34878D82A}">
                    <a16:rowId xmlns:a16="http://schemas.microsoft.com/office/drawing/2014/main" val="3553632232"/>
                  </a:ext>
                </a:extLst>
              </a:tr>
              <a:tr h="417789">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extLst>
                  <a:ext uri="{0D108BD9-81ED-4DB2-BD59-A6C34878D82A}">
                    <a16:rowId xmlns:a16="http://schemas.microsoft.com/office/drawing/2014/main" val="2412053611"/>
                  </a:ext>
                </a:extLst>
              </a:tr>
              <a:tr h="417789">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extLst>
                  <a:ext uri="{0D108BD9-81ED-4DB2-BD59-A6C34878D82A}">
                    <a16:rowId xmlns:a16="http://schemas.microsoft.com/office/drawing/2014/main" val="1152959238"/>
                  </a:ext>
                </a:extLst>
              </a:tr>
              <a:tr h="417789">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extLst>
                  <a:ext uri="{0D108BD9-81ED-4DB2-BD59-A6C34878D82A}">
                    <a16:rowId xmlns:a16="http://schemas.microsoft.com/office/drawing/2014/main" val="3015789280"/>
                  </a:ext>
                </a:extLst>
              </a:tr>
              <a:tr h="400099">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extLst>
                  <a:ext uri="{0D108BD9-81ED-4DB2-BD59-A6C34878D82A}">
                    <a16:rowId xmlns:a16="http://schemas.microsoft.com/office/drawing/2014/main" val="2660554112"/>
                  </a:ext>
                </a:extLst>
              </a:tr>
              <a:tr h="400099">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extLst>
                  <a:ext uri="{0D108BD9-81ED-4DB2-BD59-A6C34878D82A}">
                    <a16:rowId xmlns:a16="http://schemas.microsoft.com/office/drawing/2014/main" val="1389529968"/>
                  </a:ext>
                </a:extLst>
              </a:tr>
              <a:tr h="400099">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extLst>
                  <a:ext uri="{0D108BD9-81ED-4DB2-BD59-A6C34878D82A}">
                    <a16:rowId xmlns:a16="http://schemas.microsoft.com/office/drawing/2014/main" val="2575885812"/>
                  </a:ext>
                </a:extLst>
              </a:tr>
              <a:tr h="400099">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extLst>
                  <a:ext uri="{0D108BD9-81ED-4DB2-BD59-A6C34878D82A}">
                    <a16:rowId xmlns:a16="http://schemas.microsoft.com/office/drawing/2014/main" val="2648188380"/>
                  </a:ext>
                </a:extLst>
              </a:tr>
              <a:tr h="400099">
                <a:tc>
                  <a:txBody>
                    <a:bodyPr/>
                    <a:lstStyle/>
                    <a:p>
                      <a:endParaRPr lang="en-US" sz="1300" dirty="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tc>
                  <a:txBody>
                    <a:bodyPr/>
                    <a:lstStyle/>
                    <a:p>
                      <a:endParaRPr lang="en-US" sz="1300" dirty="0"/>
                    </a:p>
                  </a:txBody>
                  <a:tcPr marL="70919" marR="70919" marT="35460" marB="35460">
                    <a:solidFill>
                      <a:schemeClr val="bg1"/>
                    </a:solidFill>
                  </a:tcPr>
                </a:tc>
                <a:extLst>
                  <a:ext uri="{0D108BD9-81ED-4DB2-BD59-A6C34878D82A}">
                    <a16:rowId xmlns:a16="http://schemas.microsoft.com/office/drawing/2014/main" val="458536063"/>
                  </a:ext>
                </a:extLst>
              </a:tr>
            </a:tbl>
          </a:graphicData>
        </a:graphic>
      </p:graphicFrame>
    </p:spTree>
    <p:extLst>
      <p:ext uri="{BB962C8B-B14F-4D97-AF65-F5344CB8AC3E}">
        <p14:creationId xmlns:p14="http://schemas.microsoft.com/office/powerpoint/2010/main" val="31965187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1"/>
            </p:custDataLst>
            <p:extLst>
              <p:ext uri="{D42A27DB-BD31-4B8C-83A1-F6EECF244321}">
                <p14:modId xmlns:p14="http://schemas.microsoft.com/office/powerpoint/2010/main" val="2233964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72" imgH="588" progId="TCLayout.ActiveDocument.1">
                  <p:embed/>
                </p:oleObj>
              </mc:Choice>
              <mc:Fallback>
                <p:oleObj name="think-cell Slide" r:id="rId20"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650B6BA7-A54D-4342-967F-2A7950E39DDE}"/>
              </a:ext>
            </a:extLst>
          </p:cNvPr>
          <p:cNvSpPr/>
          <p:nvPr>
            <p:custDataLst>
              <p:tags r:id="rId2"/>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err="1">
              <a:solidFill>
                <a:schemeClr val="bg1"/>
              </a:solidFill>
              <a:latin typeface="Georgia" panose="02040502050405020303" pitchFamily="18" charset="0"/>
              <a:ea typeface="+mj-ea"/>
              <a:cs typeface="+mj-cs"/>
              <a:sym typeface="Georgia" panose="02040502050405020303" pitchFamily="18" charset="0"/>
            </a:endParaRPr>
          </a:p>
        </p:txBody>
      </p:sp>
      <p:grpSp>
        <p:nvGrpSpPr>
          <p:cNvPr id="31" name="Group 30">
            <a:extLst>
              <a:ext uri="{FF2B5EF4-FFF2-40B4-BE49-F238E27FC236}">
                <a16:creationId xmlns:a16="http://schemas.microsoft.com/office/drawing/2014/main" id="{04B26091-050B-A54A-8063-0BA5F4B15E59}"/>
              </a:ext>
            </a:extLst>
          </p:cNvPr>
          <p:cNvGrpSpPr/>
          <p:nvPr/>
        </p:nvGrpSpPr>
        <p:grpSpPr>
          <a:xfrm>
            <a:off x="355600" y="1647405"/>
            <a:ext cx="4362824" cy="3563190"/>
            <a:chOff x="533400" y="1528909"/>
            <a:chExt cx="4362824" cy="3563190"/>
          </a:xfrm>
        </p:grpSpPr>
        <p:sp>
          <p:nvSpPr>
            <p:cNvPr id="4" name="Rectangle 3">
              <a:hlinkClick r:id="rId22" action="ppaction://hlinksldjump"/>
              <a:extLst>
                <a:ext uri="{FF2B5EF4-FFF2-40B4-BE49-F238E27FC236}">
                  <a16:creationId xmlns:a16="http://schemas.microsoft.com/office/drawing/2014/main" id="{E6EBF1F6-061B-35C7-CB59-8F28C71B004D}"/>
                </a:ext>
              </a:extLst>
            </p:cNvPr>
            <p:cNvSpPr/>
            <p:nvPr>
              <p:custDataLst>
                <p:tags r:id="rId3"/>
              </p:custDataLst>
            </p:nvPr>
          </p:nvSpPr>
          <p:spPr>
            <a:xfrm>
              <a:off x="4356512" y="4633461"/>
              <a:ext cx="65" cy="4586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a:solidFill>
                  <a:schemeClr val="tx1"/>
                </a:solidFill>
                <a:latin typeface="Gill Sans Nova" panose="020B0602020104020203" pitchFamily="34" charset="0"/>
              </a:endParaRPr>
            </a:p>
          </p:txBody>
        </p:sp>
        <p:sp>
          <p:nvSpPr>
            <p:cNvPr id="5" name="Rectangle 4">
              <a:hlinkClick r:id="rId22" action="ppaction://hlinksldjump"/>
              <a:extLst>
                <a:ext uri="{FF2B5EF4-FFF2-40B4-BE49-F238E27FC236}">
                  <a16:creationId xmlns:a16="http://schemas.microsoft.com/office/drawing/2014/main" id="{701044A6-492C-B1CE-D589-FAEC4351CF61}"/>
                </a:ext>
              </a:extLst>
            </p:cNvPr>
            <p:cNvSpPr/>
            <p:nvPr>
              <p:custDataLst>
                <p:tags r:id="rId4"/>
              </p:custDataLst>
            </p:nvPr>
          </p:nvSpPr>
          <p:spPr>
            <a:xfrm>
              <a:off x="1249393" y="4633461"/>
              <a:ext cx="3646831" cy="4586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en-US" dirty="0">
                  <a:solidFill>
                    <a:schemeClr val="tx1"/>
                  </a:solidFill>
                  <a:latin typeface="Gill Sans Nova" panose="020B0602020104020203" pitchFamily="34" charset="0"/>
                </a:rPr>
                <a:t>Where next?</a:t>
              </a:r>
              <a:r>
                <a:rPr lang="en-US" dirty="0">
                  <a:solidFill>
                    <a:schemeClr val="bg1">
                      <a:lumMod val="75000"/>
                    </a:schemeClr>
                  </a:solidFill>
                  <a:latin typeface="Gill Sans Nova" panose="020B0602020104020203" pitchFamily="34" charset="0"/>
                </a:rPr>
                <a:t>.......................</a:t>
              </a:r>
              <a:r>
                <a:rPr lang="en-US" dirty="0">
                  <a:solidFill>
                    <a:schemeClr val="bg1">
                      <a:lumMod val="65000"/>
                    </a:schemeClr>
                  </a:solidFill>
                  <a:latin typeface="Gill Sans Nova" panose="020B0602020104020203" pitchFamily="34" charset="0"/>
                </a:rPr>
                <a:t>………………………………………………………………….slide 35</a:t>
              </a:r>
              <a:r>
                <a:rPr lang="en-US" dirty="0">
                  <a:solidFill>
                    <a:schemeClr val="tx1"/>
                  </a:solidFill>
                  <a:latin typeface="Gill Sans Nova" panose="020B0602020104020203" pitchFamily="34" charset="0"/>
                </a:rPr>
                <a:t> </a:t>
              </a:r>
            </a:p>
          </p:txBody>
        </p:sp>
        <p:sp>
          <p:nvSpPr>
            <p:cNvPr id="6" name="Oval 5">
              <a:hlinkClick r:id="rId22" action="ppaction://hlinksldjump"/>
              <a:extLst>
                <a:ext uri="{FF2B5EF4-FFF2-40B4-BE49-F238E27FC236}">
                  <a16:creationId xmlns:a16="http://schemas.microsoft.com/office/drawing/2014/main" id="{A0FBF27E-22B9-0D53-3F1B-5E638E4E3489}"/>
                </a:ext>
              </a:extLst>
            </p:cNvPr>
            <p:cNvSpPr/>
            <p:nvPr>
              <p:custDataLst>
                <p:tags r:id="rId5"/>
              </p:custDataLst>
            </p:nvPr>
          </p:nvSpPr>
          <p:spPr>
            <a:xfrm>
              <a:off x="533400" y="4633461"/>
              <a:ext cx="458638" cy="458638"/>
            </a:xfrm>
            <a:prstGeom prst="ellipse">
              <a:avLst/>
            </a:prstGeom>
            <a:solidFill>
              <a:srgbClr val="FFFFFF"/>
            </a:solidFill>
            <a:ln w="2540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0" rIns="76200" bIns="0" numCol="1" spcCol="0" rtlCol="0" fromWordArt="0" anchor="ctr" anchorCtr="0" forceAA="0" compatLnSpc="1">
              <a:prstTxWarp prst="textNoShape">
                <a:avLst/>
              </a:prstTxWarp>
              <a:noAutofit/>
            </a:bodyPr>
            <a:lstStyle/>
            <a:p>
              <a:pPr algn="ctr">
                <a:spcBef>
                  <a:spcPct val="0"/>
                </a:spcBef>
                <a:spcAft>
                  <a:spcPct val="0"/>
                </a:spcAft>
              </a:pPr>
              <a:r>
                <a:rPr lang="en-US" b="1">
                  <a:solidFill>
                    <a:schemeClr val="tx1"/>
                  </a:solidFill>
                </a:rPr>
                <a:t>5</a:t>
              </a:r>
            </a:p>
          </p:txBody>
        </p:sp>
        <p:sp>
          <p:nvSpPr>
            <p:cNvPr id="9" name="Rectangle 8">
              <a:hlinkClick r:id="rId23" action="ppaction://hlinksldjump"/>
              <a:extLst>
                <a:ext uri="{FF2B5EF4-FFF2-40B4-BE49-F238E27FC236}">
                  <a16:creationId xmlns:a16="http://schemas.microsoft.com/office/drawing/2014/main" id="{AC507082-0D2D-A5DB-D370-2459C5A10D69}"/>
                </a:ext>
              </a:extLst>
            </p:cNvPr>
            <p:cNvSpPr/>
            <p:nvPr>
              <p:custDataLst>
                <p:tags r:id="rId6"/>
              </p:custDataLst>
            </p:nvPr>
          </p:nvSpPr>
          <p:spPr>
            <a:xfrm>
              <a:off x="4356512" y="3857323"/>
              <a:ext cx="65" cy="4586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a:solidFill>
                  <a:schemeClr val="tx1"/>
                </a:solidFill>
                <a:latin typeface="Gill Sans Nova" panose="020B0602020104020203" pitchFamily="34" charset="0"/>
              </a:endParaRPr>
            </a:p>
          </p:txBody>
        </p:sp>
        <p:sp>
          <p:nvSpPr>
            <p:cNvPr id="10" name="Rectangle 9">
              <a:hlinkClick r:id="rId23" action="ppaction://hlinksldjump"/>
              <a:extLst>
                <a:ext uri="{FF2B5EF4-FFF2-40B4-BE49-F238E27FC236}">
                  <a16:creationId xmlns:a16="http://schemas.microsoft.com/office/drawing/2014/main" id="{EF3756DB-4099-4A2F-5C77-6EBF07765C0B}"/>
                </a:ext>
              </a:extLst>
            </p:cNvPr>
            <p:cNvSpPr/>
            <p:nvPr>
              <p:custDataLst>
                <p:tags r:id="rId7"/>
              </p:custDataLst>
            </p:nvPr>
          </p:nvSpPr>
          <p:spPr>
            <a:xfrm>
              <a:off x="1249393" y="3855030"/>
              <a:ext cx="3646831" cy="46322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en-US" dirty="0">
                  <a:solidFill>
                    <a:schemeClr val="tx1"/>
                  </a:solidFill>
                  <a:latin typeface="Gill Sans Nova" panose="020B0602020104020203" pitchFamily="34" charset="0"/>
                </a:rPr>
                <a:t>Investing in Future Leaders through targeted development</a:t>
              </a:r>
              <a:r>
                <a:rPr lang="en-US" dirty="0">
                  <a:solidFill>
                    <a:schemeClr val="bg1">
                      <a:lumMod val="65000"/>
                    </a:schemeClr>
                  </a:solidFill>
                  <a:latin typeface="Gill Sans Nova" panose="020B0602020104020203" pitchFamily="34" charset="0"/>
                </a:rPr>
                <a:t> ……………………….……...slide 30</a:t>
              </a:r>
              <a:endParaRPr lang="en-US" dirty="0">
                <a:solidFill>
                  <a:schemeClr val="tx1"/>
                </a:solidFill>
                <a:latin typeface="Gill Sans Nova" panose="020B0602020104020203" pitchFamily="34" charset="0"/>
              </a:endParaRPr>
            </a:p>
          </p:txBody>
        </p:sp>
        <p:sp>
          <p:nvSpPr>
            <p:cNvPr id="11" name="Oval 10">
              <a:hlinkClick r:id="rId23" action="ppaction://hlinksldjump"/>
              <a:extLst>
                <a:ext uri="{FF2B5EF4-FFF2-40B4-BE49-F238E27FC236}">
                  <a16:creationId xmlns:a16="http://schemas.microsoft.com/office/drawing/2014/main" id="{C004D946-91F2-3CF0-441B-E4F88D376E3D}"/>
                </a:ext>
              </a:extLst>
            </p:cNvPr>
            <p:cNvSpPr/>
            <p:nvPr>
              <p:custDataLst>
                <p:tags r:id="rId8"/>
              </p:custDataLst>
            </p:nvPr>
          </p:nvSpPr>
          <p:spPr>
            <a:xfrm>
              <a:off x="533400" y="3857323"/>
              <a:ext cx="458638" cy="458638"/>
            </a:xfrm>
            <a:prstGeom prst="ellipse">
              <a:avLst/>
            </a:prstGeom>
            <a:solidFill>
              <a:srgbClr val="FFFFFF"/>
            </a:solidFill>
            <a:ln w="2540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0" rIns="76200" bIns="0" numCol="1" spcCol="0" rtlCol="0" fromWordArt="0" anchor="ctr" anchorCtr="0" forceAA="0" compatLnSpc="1">
              <a:prstTxWarp prst="textNoShape">
                <a:avLst/>
              </a:prstTxWarp>
              <a:noAutofit/>
            </a:bodyPr>
            <a:lstStyle/>
            <a:p>
              <a:pPr algn="ctr">
                <a:spcBef>
                  <a:spcPct val="0"/>
                </a:spcBef>
                <a:spcAft>
                  <a:spcPct val="0"/>
                </a:spcAft>
              </a:pPr>
              <a:r>
                <a:rPr lang="en-US" b="1">
                  <a:solidFill>
                    <a:schemeClr val="tx1"/>
                  </a:solidFill>
                </a:rPr>
                <a:t>4</a:t>
              </a:r>
            </a:p>
          </p:txBody>
        </p:sp>
        <p:sp>
          <p:nvSpPr>
            <p:cNvPr id="13" name="Rectangle 12">
              <a:hlinkClick r:id="rId24" action="ppaction://hlinksldjump"/>
              <a:extLst>
                <a:ext uri="{FF2B5EF4-FFF2-40B4-BE49-F238E27FC236}">
                  <a16:creationId xmlns:a16="http://schemas.microsoft.com/office/drawing/2014/main" id="{F6FB4DB6-AFBE-200F-9FC2-1E257F747B2C}"/>
                </a:ext>
              </a:extLst>
            </p:cNvPr>
            <p:cNvSpPr/>
            <p:nvPr>
              <p:custDataLst>
                <p:tags r:id="rId9"/>
              </p:custDataLst>
            </p:nvPr>
          </p:nvSpPr>
          <p:spPr>
            <a:xfrm>
              <a:off x="4356512" y="3081185"/>
              <a:ext cx="65" cy="4586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a:solidFill>
                  <a:schemeClr val="tx1"/>
                </a:solidFill>
                <a:latin typeface="Gill Sans Nova" panose="020B0602020104020203" pitchFamily="34" charset="0"/>
              </a:endParaRPr>
            </a:p>
          </p:txBody>
        </p:sp>
        <p:sp>
          <p:nvSpPr>
            <p:cNvPr id="14" name="Rectangle 13">
              <a:hlinkClick r:id="rId24" action="ppaction://hlinksldjump"/>
              <a:extLst>
                <a:ext uri="{FF2B5EF4-FFF2-40B4-BE49-F238E27FC236}">
                  <a16:creationId xmlns:a16="http://schemas.microsoft.com/office/drawing/2014/main" id="{4CA12A57-2015-841F-3955-5CAF18DB61F0}"/>
                </a:ext>
              </a:extLst>
            </p:cNvPr>
            <p:cNvSpPr/>
            <p:nvPr>
              <p:custDataLst>
                <p:tags r:id="rId10"/>
              </p:custDataLst>
            </p:nvPr>
          </p:nvSpPr>
          <p:spPr>
            <a:xfrm>
              <a:off x="1249393" y="3081185"/>
              <a:ext cx="3646831" cy="4586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en-US" dirty="0">
                  <a:solidFill>
                    <a:schemeClr val="tx1"/>
                  </a:solidFill>
                  <a:latin typeface="Gill Sans Nova" panose="020B0602020104020203" pitchFamily="34" charset="0"/>
                </a:rPr>
                <a:t>Identifying future leaders &amp; Understanding your bench</a:t>
              </a:r>
              <a:r>
                <a:rPr lang="en-US" dirty="0">
                  <a:solidFill>
                    <a:schemeClr val="bg1">
                      <a:lumMod val="65000"/>
                    </a:schemeClr>
                  </a:solidFill>
                  <a:latin typeface="Gill Sans Nova" panose="020B0602020104020203" pitchFamily="34" charset="0"/>
                </a:rPr>
                <a:t> ……………………….………….slide 21</a:t>
              </a:r>
              <a:endParaRPr lang="en-US" dirty="0">
                <a:solidFill>
                  <a:schemeClr val="tx1"/>
                </a:solidFill>
                <a:latin typeface="Gill Sans Nova" panose="020B0602020104020203" pitchFamily="34" charset="0"/>
              </a:endParaRPr>
            </a:p>
          </p:txBody>
        </p:sp>
        <p:sp>
          <p:nvSpPr>
            <p:cNvPr id="15" name="Oval 14">
              <a:hlinkClick r:id="rId24" action="ppaction://hlinksldjump"/>
              <a:extLst>
                <a:ext uri="{FF2B5EF4-FFF2-40B4-BE49-F238E27FC236}">
                  <a16:creationId xmlns:a16="http://schemas.microsoft.com/office/drawing/2014/main" id="{A0823ECC-A8B6-DE63-CD66-CAB4E09D8532}"/>
                </a:ext>
              </a:extLst>
            </p:cNvPr>
            <p:cNvSpPr/>
            <p:nvPr>
              <p:custDataLst>
                <p:tags r:id="rId11"/>
              </p:custDataLst>
            </p:nvPr>
          </p:nvSpPr>
          <p:spPr>
            <a:xfrm>
              <a:off x="533400" y="3081185"/>
              <a:ext cx="458638" cy="458638"/>
            </a:xfrm>
            <a:prstGeom prst="ellipse">
              <a:avLst/>
            </a:prstGeom>
            <a:solidFill>
              <a:srgbClr val="FFFFFF"/>
            </a:solidFill>
            <a:ln w="2540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0" rIns="76200" bIns="0" numCol="1" spcCol="0" rtlCol="0" fromWordArt="0" anchor="ctr" anchorCtr="0" forceAA="0" compatLnSpc="1">
              <a:prstTxWarp prst="textNoShape">
                <a:avLst/>
              </a:prstTxWarp>
              <a:noAutofit/>
            </a:bodyPr>
            <a:lstStyle/>
            <a:p>
              <a:pPr algn="ctr">
                <a:spcBef>
                  <a:spcPct val="0"/>
                </a:spcBef>
                <a:spcAft>
                  <a:spcPct val="0"/>
                </a:spcAft>
              </a:pPr>
              <a:r>
                <a:rPr lang="en-US" b="1" dirty="0">
                  <a:solidFill>
                    <a:schemeClr val="tx1"/>
                  </a:solidFill>
                </a:rPr>
                <a:t>3</a:t>
              </a:r>
            </a:p>
          </p:txBody>
        </p:sp>
        <p:sp>
          <p:nvSpPr>
            <p:cNvPr id="18" name="Rectangle 17">
              <a:hlinkClick r:id="rId24" action="ppaction://hlinksldjump"/>
              <a:extLst>
                <a:ext uri="{FF2B5EF4-FFF2-40B4-BE49-F238E27FC236}">
                  <a16:creationId xmlns:a16="http://schemas.microsoft.com/office/drawing/2014/main" id="{93FBDE10-13A8-6CF3-0BEB-5C0A7ACE9CAC}"/>
                </a:ext>
              </a:extLst>
            </p:cNvPr>
            <p:cNvSpPr/>
            <p:nvPr>
              <p:custDataLst>
                <p:tags r:id="rId12"/>
              </p:custDataLst>
            </p:nvPr>
          </p:nvSpPr>
          <p:spPr>
            <a:xfrm>
              <a:off x="4356512" y="2305047"/>
              <a:ext cx="65" cy="4586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a:solidFill>
                  <a:schemeClr val="tx1"/>
                </a:solidFill>
                <a:latin typeface="Gill Sans Nova" panose="020B0602020104020203" pitchFamily="34" charset="0"/>
              </a:endParaRPr>
            </a:p>
          </p:txBody>
        </p:sp>
        <p:sp>
          <p:nvSpPr>
            <p:cNvPr id="22" name="Rectangle 21">
              <a:hlinkClick r:id="rId24" action="ppaction://hlinksldjump"/>
              <a:extLst>
                <a:ext uri="{FF2B5EF4-FFF2-40B4-BE49-F238E27FC236}">
                  <a16:creationId xmlns:a16="http://schemas.microsoft.com/office/drawing/2014/main" id="{436C4EA7-DFB2-D2E2-FCFD-A09DB12A2468}"/>
                </a:ext>
              </a:extLst>
            </p:cNvPr>
            <p:cNvSpPr/>
            <p:nvPr>
              <p:custDataLst>
                <p:tags r:id="rId13"/>
              </p:custDataLst>
            </p:nvPr>
          </p:nvSpPr>
          <p:spPr>
            <a:xfrm>
              <a:off x="1249393" y="2305047"/>
              <a:ext cx="3646831" cy="4586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r>
                <a:rPr lang="en-US" dirty="0">
                  <a:solidFill>
                    <a:schemeClr val="tx1"/>
                  </a:solidFill>
                  <a:latin typeface="Gill Sans Nova" panose="020B0602020104020203" pitchFamily="34" charset="0"/>
                </a:rPr>
                <a:t>Forecasting campus leadership vacancies</a:t>
              </a:r>
              <a:r>
                <a:rPr lang="en-US" dirty="0">
                  <a:solidFill>
                    <a:schemeClr val="bg1">
                      <a:lumMod val="65000"/>
                    </a:schemeClr>
                  </a:solidFill>
                  <a:latin typeface="Gill Sans Nova" panose="020B0602020104020203" pitchFamily="34" charset="0"/>
                </a:rPr>
                <a:t>.………………………………………………….slide 11</a:t>
              </a:r>
              <a:endParaRPr lang="en-US" dirty="0">
                <a:solidFill>
                  <a:schemeClr val="tx1"/>
                </a:solidFill>
                <a:latin typeface="Gill Sans Nova" panose="020B0602020104020203" pitchFamily="34" charset="0"/>
              </a:endParaRPr>
            </a:p>
          </p:txBody>
        </p:sp>
        <p:sp>
          <p:nvSpPr>
            <p:cNvPr id="23" name="Oval 22">
              <a:hlinkClick r:id="rId24" action="ppaction://hlinksldjump"/>
              <a:extLst>
                <a:ext uri="{FF2B5EF4-FFF2-40B4-BE49-F238E27FC236}">
                  <a16:creationId xmlns:a16="http://schemas.microsoft.com/office/drawing/2014/main" id="{72997A0F-9E06-EF4C-CB0B-C3EF109AF3FF}"/>
                </a:ext>
              </a:extLst>
            </p:cNvPr>
            <p:cNvSpPr/>
            <p:nvPr>
              <p:custDataLst>
                <p:tags r:id="rId14"/>
              </p:custDataLst>
            </p:nvPr>
          </p:nvSpPr>
          <p:spPr>
            <a:xfrm>
              <a:off x="533400" y="2305047"/>
              <a:ext cx="458638" cy="458638"/>
            </a:xfrm>
            <a:prstGeom prst="ellipse">
              <a:avLst/>
            </a:prstGeom>
            <a:solidFill>
              <a:srgbClr val="FFFFFF"/>
            </a:solidFill>
            <a:ln w="2540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0" rIns="76200" bIns="0" numCol="1" spcCol="0" rtlCol="0" fromWordArt="0" anchor="ctr" anchorCtr="0" forceAA="0" compatLnSpc="1">
              <a:prstTxWarp prst="textNoShape">
                <a:avLst/>
              </a:prstTxWarp>
              <a:noAutofit/>
            </a:bodyPr>
            <a:lstStyle/>
            <a:p>
              <a:pPr algn="ctr">
                <a:spcBef>
                  <a:spcPct val="0"/>
                </a:spcBef>
                <a:spcAft>
                  <a:spcPct val="0"/>
                </a:spcAft>
              </a:pPr>
              <a:r>
                <a:rPr lang="en-US" b="1">
                  <a:solidFill>
                    <a:schemeClr val="tx1"/>
                  </a:solidFill>
                </a:rPr>
                <a:t>2</a:t>
              </a:r>
            </a:p>
          </p:txBody>
        </p:sp>
        <p:sp>
          <p:nvSpPr>
            <p:cNvPr id="26" name="Rectangle 25">
              <a:hlinkClick r:id="rId25" action="ppaction://hlinksldjump"/>
              <a:extLst>
                <a:ext uri="{FF2B5EF4-FFF2-40B4-BE49-F238E27FC236}">
                  <a16:creationId xmlns:a16="http://schemas.microsoft.com/office/drawing/2014/main" id="{0747FF15-0724-D975-D1B8-01AF6B8F35F3}"/>
                </a:ext>
              </a:extLst>
            </p:cNvPr>
            <p:cNvSpPr/>
            <p:nvPr>
              <p:custDataLst>
                <p:tags r:id="rId15"/>
              </p:custDataLst>
            </p:nvPr>
          </p:nvSpPr>
          <p:spPr>
            <a:xfrm>
              <a:off x="4356512" y="1528909"/>
              <a:ext cx="65" cy="4586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a:solidFill>
                  <a:schemeClr val="tx1"/>
                </a:solidFill>
                <a:latin typeface="Gill Sans Nova" panose="020B0602020104020203" pitchFamily="34" charset="0"/>
              </a:endParaRPr>
            </a:p>
          </p:txBody>
        </p:sp>
        <p:sp>
          <p:nvSpPr>
            <p:cNvPr id="28" name="Rectangle 27">
              <a:hlinkClick r:id="rId25" action="ppaction://hlinksldjump"/>
              <a:extLst>
                <a:ext uri="{FF2B5EF4-FFF2-40B4-BE49-F238E27FC236}">
                  <a16:creationId xmlns:a16="http://schemas.microsoft.com/office/drawing/2014/main" id="{6BBD40B4-9A4A-0237-F2FA-EEE284C15C66}"/>
                </a:ext>
              </a:extLst>
            </p:cNvPr>
            <p:cNvSpPr/>
            <p:nvPr>
              <p:custDataLst>
                <p:tags r:id="rId16"/>
              </p:custDataLst>
            </p:nvPr>
          </p:nvSpPr>
          <p:spPr>
            <a:xfrm>
              <a:off x="1249393" y="1528909"/>
              <a:ext cx="1801775" cy="45863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just">
                <a:spcBef>
                  <a:spcPct val="0"/>
                </a:spcBef>
                <a:spcAft>
                  <a:spcPct val="0"/>
                </a:spcAft>
              </a:pPr>
              <a:r>
                <a:rPr lang="en-US" dirty="0">
                  <a:solidFill>
                    <a:schemeClr val="tx1"/>
                  </a:solidFill>
                  <a:latin typeface="Gill Sans Nova" panose="020B0602020104020203" pitchFamily="34" charset="0"/>
                </a:rPr>
                <a:t>Introduction to the Vacancy Planning Cycle</a:t>
              </a:r>
              <a:r>
                <a:rPr lang="en-US" dirty="0">
                  <a:solidFill>
                    <a:schemeClr val="bg1">
                      <a:lumMod val="65000"/>
                    </a:schemeClr>
                  </a:solidFill>
                  <a:latin typeface="Gill Sans Nova" panose="020B0602020104020203" pitchFamily="34" charset="0"/>
                </a:rPr>
                <a:t>……………………………………………….slide 4</a:t>
              </a:r>
            </a:p>
          </p:txBody>
        </p:sp>
        <p:sp>
          <p:nvSpPr>
            <p:cNvPr id="29" name="Oval 28">
              <a:hlinkClick r:id="rId25" action="ppaction://hlinksldjump"/>
              <a:extLst>
                <a:ext uri="{FF2B5EF4-FFF2-40B4-BE49-F238E27FC236}">
                  <a16:creationId xmlns:a16="http://schemas.microsoft.com/office/drawing/2014/main" id="{1919C79C-E607-F5CA-CF2C-E89F5491CC3A}"/>
                </a:ext>
              </a:extLst>
            </p:cNvPr>
            <p:cNvSpPr/>
            <p:nvPr>
              <p:custDataLst>
                <p:tags r:id="rId17"/>
              </p:custDataLst>
            </p:nvPr>
          </p:nvSpPr>
          <p:spPr>
            <a:xfrm>
              <a:off x="533400" y="1528909"/>
              <a:ext cx="458638" cy="458638"/>
            </a:xfrm>
            <a:prstGeom prst="ellipse">
              <a:avLst/>
            </a:prstGeom>
            <a:solidFill>
              <a:srgbClr val="FFFFFF"/>
            </a:solidFill>
            <a:ln w="25400" cap="flat" cmpd="sng" algn="ctr">
              <a:solidFill>
                <a:schemeClr val="accent1"/>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0" rIns="76200" bIns="0" numCol="1" spcCol="0" rtlCol="0" fromWordArt="0" anchor="ctr" anchorCtr="0" forceAA="0" compatLnSpc="1">
              <a:prstTxWarp prst="textNoShape">
                <a:avLst/>
              </a:prstTxWarp>
              <a:noAutofit/>
            </a:bodyPr>
            <a:lstStyle/>
            <a:p>
              <a:pPr algn="ctr">
                <a:spcBef>
                  <a:spcPct val="0"/>
                </a:spcBef>
                <a:spcAft>
                  <a:spcPct val="0"/>
                </a:spcAft>
              </a:pPr>
              <a:r>
                <a:rPr lang="en-US" b="1">
                  <a:solidFill>
                    <a:schemeClr val="tx1"/>
                  </a:solidFill>
                </a:rPr>
                <a:t>1</a:t>
              </a:r>
            </a:p>
          </p:txBody>
        </p:sp>
      </p:grpSp>
      <p:sp>
        <p:nvSpPr>
          <p:cNvPr id="33" name="Title 32">
            <a:extLst>
              <a:ext uri="{FF2B5EF4-FFF2-40B4-BE49-F238E27FC236}">
                <a16:creationId xmlns:a16="http://schemas.microsoft.com/office/drawing/2014/main" id="{D689C62F-EFFC-3FA4-C901-C23329DD03BD}"/>
              </a:ext>
            </a:extLst>
          </p:cNvPr>
          <p:cNvSpPr>
            <a:spLocks noGrp="1"/>
          </p:cNvSpPr>
          <p:nvPr>
            <p:ph type="title"/>
          </p:nvPr>
        </p:nvSpPr>
        <p:spPr>
          <a:xfrm>
            <a:off x="355600" y="382589"/>
            <a:ext cx="4925975" cy="350837"/>
          </a:xfrm>
        </p:spPr>
        <p:txBody>
          <a:bodyPr vert="horz"/>
          <a:lstStyle/>
          <a:p>
            <a:r>
              <a:rPr lang="en-US" dirty="0"/>
              <a:t>Contents of the toolkit</a:t>
            </a:r>
          </a:p>
        </p:txBody>
      </p:sp>
      <p:sp>
        <p:nvSpPr>
          <p:cNvPr id="35" name="Title 32">
            <a:extLst>
              <a:ext uri="{FF2B5EF4-FFF2-40B4-BE49-F238E27FC236}">
                <a16:creationId xmlns:a16="http://schemas.microsoft.com/office/drawing/2014/main" id="{CE58B802-A88B-E33B-92C8-FE69EF8AFEAF}"/>
              </a:ext>
            </a:extLst>
          </p:cNvPr>
          <p:cNvSpPr txBox="1">
            <a:spLocks/>
          </p:cNvSpPr>
          <p:nvPr/>
        </p:nvSpPr>
        <p:spPr>
          <a:xfrm>
            <a:off x="6732627" y="382589"/>
            <a:ext cx="4925975" cy="350837"/>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ts val="1000"/>
              </a:spcBef>
              <a:spcAft>
                <a:spcPts val="0"/>
              </a:spcAft>
              <a:buNone/>
              <a:defRPr sz="2800" b="1" i="0" u="none" kern="1200" spc="0">
                <a:solidFill>
                  <a:schemeClr val="tx2">
                    <a:lumMod val="100000"/>
                  </a:schemeClr>
                </a:solidFill>
                <a:latin typeface="+mn-lt"/>
                <a:ea typeface="+mj-ea"/>
                <a:cs typeface="Arial" panose="020B0604020202020204" pitchFamily="34" charset="0"/>
              </a:defRPr>
            </a:lvl1pPr>
          </a:lstStyle>
          <a:p>
            <a:r>
              <a:rPr lang="en-US">
                <a:solidFill>
                  <a:schemeClr val="bg1"/>
                </a:solidFill>
              </a:rPr>
              <a:t>Objectives</a:t>
            </a:r>
          </a:p>
        </p:txBody>
      </p:sp>
    </p:spTree>
    <p:extLst>
      <p:ext uri="{BB962C8B-B14F-4D97-AF65-F5344CB8AC3E}">
        <p14:creationId xmlns:p14="http://schemas.microsoft.com/office/powerpoint/2010/main" val="2426709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18EB5E-C9F5-7518-F5E8-7BF13D3D5333}"/>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816AC69A-6F53-7AD7-0B93-F85479E3EB2D}"/>
              </a:ext>
            </a:extLst>
          </p:cNvPr>
          <p:cNvSpPr>
            <a:spLocks noGrp="1"/>
          </p:cNvSpPr>
          <p:nvPr>
            <p:ph type="body" sz="quarter" idx="11"/>
          </p:nvPr>
        </p:nvSpPr>
        <p:spPr>
          <a:xfrm>
            <a:off x="711200" y="1447801"/>
            <a:ext cx="9309100" cy="3046988"/>
          </a:xfrm>
        </p:spPr>
        <p:txBody>
          <a:bodyPr/>
          <a:lstStyle/>
          <a:p>
            <a:r>
              <a:rPr lang="en-US" dirty="0"/>
              <a:t>Investing in Future Leaders through targeted development</a:t>
            </a:r>
          </a:p>
        </p:txBody>
      </p:sp>
      <p:sp>
        <p:nvSpPr>
          <p:cNvPr id="4" name="Content Placeholder 3">
            <a:extLst>
              <a:ext uri="{FF2B5EF4-FFF2-40B4-BE49-F238E27FC236}">
                <a16:creationId xmlns:a16="http://schemas.microsoft.com/office/drawing/2014/main" id="{1649EA9E-16F8-6168-11BC-99C84F29DCC3}"/>
              </a:ext>
            </a:extLst>
          </p:cNvPr>
          <p:cNvSpPr>
            <a:spLocks noGrp="1"/>
          </p:cNvSpPr>
          <p:nvPr>
            <p:ph sz="quarter" idx="13"/>
          </p:nvPr>
        </p:nvSpPr>
        <p:spPr/>
        <p:txBody>
          <a:bodyPr/>
          <a:lstStyle/>
          <a:p>
            <a:r>
              <a:rPr lang="en-US" dirty="0"/>
              <a:t>4</a:t>
            </a:r>
          </a:p>
        </p:txBody>
      </p:sp>
      <p:grpSp>
        <p:nvGrpSpPr>
          <p:cNvPr id="10" name="Group 9">
            <a:extLst>
              <a:ext uri="{FF2B5EF4-FFF2-40B4-BE49-F238E27FC236}">
                <a16:creationId xmlns:a16="http://schemas.microsoft.com/office/drawing/2014/main" id="{11A62CD5-8491-43D9-D6B8-B92F4C8C2DCF}"/>
              </a:ext>
            </a:extLst>
          </p:cNvPr>
          <p:cNvGrpSpPr/>
          <p:nvPr/>
        </p:nvGrpSpPr>
        <p:grpSpPr>
          <a:xfrm>
            <a:off x="2185062" y="2861857"/>
            <a:ext cx="2971289" cy="2912922"/>
            <a:chOff x="541641" y="571912"/>
            <a:chExt cx="5698201" cy="5586266"/>
          </a:xfrm>
        </p:grpSpPr>
        <p:sp>
          <p:nvSpPr>
            <p:cNvPr id="11" name="Freeform 3">
              <a:extLst>
                <a:ext uri="{FF2B5EF4-FFF2-40B4-BE49-F238E27FC236}">
                  <a16:creationId xmlns:a16="http://schemas.microsoft.com/office/drawing/2014/main" id="{D0554E76-D4D6-AFBA-4CC3-ABDF0CDD1232}"/>
                </a:ext>
              </a:extLst>
            </p:cNvPr>
            <p:cNvSpPr>
              <a:spLocks/>
            </p:cNvSpPr>
            <p:nvPr>
              <p:custDataLst>
                <p:tags r:id="rId1"/>
              </p:custDataLst>
            </p:nvPr>
          </p:nvSpPr>
          <p:spPr bwMode="auto">
            <a:xfrm rot="2315660">
              <a:off x="1295060" y="571912"/>
              <a:ext cx="2062496" cy="4156911"/>
            </a:xfrm>
            <a:custGeom>
              <a:avLst/>
              <a:gdLst>
                <a:gd name="T0" fmla="*/ 390 w 534"/>
                <a:gd name="T1" fmla="*/ 860 h 1099"/>
                <a:gd name="T2" fmla="*/ 375 w 534"/>
                <a:gd name="T3" fmla="*/ 840 h 1099"/>
                <a:gd name="T4" fmla="*/ 361 w 534"/>
                <a:gd name="T5" fmla="*/ 819 h 1099"/>
                <a:gd name="T6" fmla="*/ 349 w 534"/>
                <a:gd name="T7" fmla="*/ 797 h 1099"/>
                <a:gd name="T8" fmla="*/ 340 w 534"/>
                <a:gd name="T9" fmla="*/ 774 h 1099"/>
                <a:gd name="T10" fmla="*/ 332 w 534"/>
                <a:gd name="T11" fmla="*/ 751 h 1099"/>
                <a:gd name="T12" fmla="*/ 326 w 534"/>
                <a:gd name="T13" fmla="*/ 727 h 1099"/>
                <a:gd name="T14" fmla="*/ 321 w 534"/>
                <a:gd name="T15" fmla="*/ 702 h 1099"/>
                <a:gd name="T16" fmla="*/ 319 w 534"/>
                <a:gd name="T17" fmla="*/ 678 h 1099"/>
                <a:gd name="T18" fmla="*/ 319 w 534"/>
                <a:gd name="T19" fmla="*/ 653 h 1099"/>
                <a:gd name="T20" fmla="*/ 320 w 534"/>
                <a:gd name="T21" fmla="*/ 628 h 1099"/>
                <a:gd name="T22" fmla="*/ 324 w 534"/>
                <a:gd name="T23" fmla="*/ 603 h 1099"/>
                <a:gd name="T24" fmla="*/ 330 w 534"/>
                <a:gd name="T25" fmla="*/ 579 h 1099"/>
                <a:gd name="T26" fmla="*/ 337 w 534"/>
                <a:gd name="T27" fmla="*/ 554 h 1099"/>
                <a:gd name="T28" fmla="*/ 347 w 534"/>
                <a:gd name="T29" fmla="*/ 530 h 1099"/>
                <a:gd name="T30" fmla="*/ 359 w 534"/>
                <a:gd name="T31" fmla="*/ 507 h 1099"/>
                <a:gd name="T32" fmla="*/ 371 w 534"/>
                <a:gd name="T33" fmla="*/ 488 h 1099"/>
                <a:gd name="T34" fmla="*/ 383 w 534"/>
                <a:gd name="T35" fmla="*/ 472 h 1099"/>
                <a:gd name="T36" fmla="*/ 395 w 534"/>
                <a:gd name="T37" fmla="*/ 457 h 1099"/>
                <a:gd name="T38" fmla="*/ 408 w 534"/>
                <a:gd name="T39" fmla="*/ 443 h 1099"/>
                <a:gd name="T40" fmla="*/ 421 w 534"/>
                <a:gd name="T41" fmla="*/ 430 h 1099"/>
                <a:gd name="T42" fmla="*/ 435 w 534"/>
                <a:gd name="T43" fmla="*/ 418 h 1099"/>
                <a:gd name="T44" fmla="*/ 450 w 534"/>
                <a:gd name="T45" fmla="*/ 406 h 1099"/>
                <a:gd name="T46" fmla="*/ 465 w 534"/>
                <a:gd name="T47" fmla="*/ 396 h 1099"/>
                <a:gd name="T48" fmla="*/ 504 w 534"/>
                <a:gd name="T49" fmla="*/ 454 h 1099"/>
                <a:gd name="T50" fmla="*/ 329 w 534"/>
                <a:gd name="T51" fmla="*/ 0 h 1099"/>
                <a:gd name="T52" fmla="*/ 344 w 534"/>
                <a:gd name="T53" fmla="*/ 89 h 1099"/>
                <a:gd name="T54" fmla="*/ 305 w 534"/>
                <a:gd name="T55" fmla="*/ 111 h 1099"/>
                <a:gd name="T56" fmla="*/ 267 w 534"/>
                <a:gd name="T57" fmla="*/ 136 h 1099"/>
                <a:gd name="T58" fmla="*/ 231 w 534"/>
                <a:gd name="T59" fmla="*/ 164 h 1099"/>
                <a:gd name="T60" fmla="*/ 197 w 534"/>
                <a:gd name="T61" fmla="*/ 196 h 1099"/>
                <a:gd name="T62" fmla="*/ 165 w 534"/>
                <a:gd name="T63" fmla="*/ 229 h 1099"/>
                <a:gd name="T64" fmla="*/ 134 w 534"/>
                <a:gd name="T65" fmla="*/ 265 h 1099"/>
                <a:gd name="T66" fmla="*/ 107 w 534"/>
                <a:gd name="T67" fmla="*/ 303 h 1099"/>
                <a:gd name="T68" fmla="*/ 80 w 534"/>
                <a:gd name="T69" fmla="*/ 347 h 1099"/>
                <a:gd name="T70" fmla="*/ 55 w 534"/>
                <a:gd name="T71" fmla="*/ 395 h 1099"/>
                <a:gd name="T72" fmla="*/ 35 w 534"/>
                <a:gd name="T73" fmla="*/ 445 h 1099"/>
                <a:gd name="T74" fmla="*/ 20 w 534"/>
                <a:gd name="T75" fmla="*/ 496 h 1099"/>
                <a:gd name="T76" fmla="*/ 9 w 534"/>
                <a:gd name="T77" fmla="*/ 547 h 1099"/>
                <a:gd name="T78" fmla="*/ 2 w 534"/>
                <a:gd name="T79" fmla="*/ 599 h 1099"/>
                <a:gd name="T80" fmla="*/ 0 w 534"/>
                <a:gd name="T81" fmla="*/ 651 h 1099"/>
                <a:gd name="T82" fmla="*/ 2 w 534"/>
                <a:gd name="T83" fmla="*/ 702 h 1099"/>
                <a:gd name="T84" fmla="*/ 9 w 534"/>
                <a:gd name="T85" fmla="*/ 754 h 1099"/>
                <a:gd name="T86" fmla="*/ 19 w 534"/>
                <a:gd name="T87" fmla="*/ 804 h 1099"/>
                <a:gd name="T88" fmla="*/ 34 w 534"/>
                <a:gd name="T89" fmla="*/ 854 h 1099"/>
                <a:gd name="T90" fmla="*/ 52 w 534"/>
                <a:gd name="T91" fmla="*/ 903 h 1099"/>
                <a:gd name="T92" fmla="*/ 75 w 534"/>
                <a:gd name="T93" fmla="*/ 950 h 1099"/>
                <a:gd name="T94" fmla="*/ 102 w 534"/>
                <a:gd name="T95" fmla="*/ 995 h 1099"/>
                <a:gd name="T96" fmla="*/ 132 w 534"/>
                <a:gd name="T97" fmla="*/ 1039 h 1099"/>
                <a:gd name="T98" fmla="*/ 166 w 534"/>
                <a:gd name="T99" fmla="*/ 1080 h 1099"/>
                <a:gd name="T100" fmla="*/ 230 w 534"/>
                <a:gd name="T101" fmla="*/ 935 h 1099"/>
                <a:gd name="T102" fmla="*/ 398 w 534"/>
                <a:gd name="T103" fmla="*/ 870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4" h="1099">
                  <a:moveTo>
                    <a:pt x="398" y="870"/>
                  </a:moveTo>
                  <a:lnTo>
                    <a:pt x="390" y="860"/>
                  </a:lnTo>
                  <a:lnTo>
                    <a:pt x="382" y="850"/>
                  </a:lnTo>
                  <a:lnTo>
                    <a:pt x="375" y="840"/>
                  </a:lnTo>
                  <a:lnTo>
                    <a:pt x="368" y="830"/>
                  </a:lnTo>
                  <a:lnTo>
                    <a:pt x="361" y="819"/>
                  </a:lnTo>
                  <a:lnTo>
                    <a:pt x="355" y="808"/>
                  </a:lnTo>
                  <a:lnTo>
                    <a:pt x="349" y="797"/>
                  </a:lnTo>
                  <a:lnTo>
                    <a:pt x="344" y="786"/>
                  </a:lnTo>
                  <a:lnTo>
                    <a:pt x="340" y="774"/>
                  </a:lnTo>
                  <a:lnTo>
                    <a:pt x="335" y="763"/>
                  </a:lnTo>
                  <a:lnTo>
                    <a:pt x="332" y="751"/>
                  </a:lnTo>
                  <a:lnTo>
                    <a:pt x="328" y="739"/>
                  </a:lnTo>
                  <a:lnTo>
                    <a:pt x="326" y="727"/>
                  </a:lnTo>
                  <a:lnTo>
                    <a:pt x="323" y="715"/>
                  </a:lnTo>
                  <a:lnTo>
                    <a:pt x="321" y="702"/>
                  </a:lnTo>
                  <a:lnTo>
                    <a:pt x="320" y="690"/>
                  </a:lnTo>
                  <a:lnTo>
                    <a:pt x="319" y="678"/>
                  </a:lnTo>
                  <a:lnTo>
                    <a:pt x="319" y="665"/>
                  </a:lnTo>
                  <a:lnTo>
                    <a:pt x="319" y="653"/>
                  </a:lnTo>
                  <a:lnTo>
                    <a:pt x="319" y="640"/>
                  </a:lnTo>
                  <a:lnTo>
                    <a:pt x="320" y="628"/>
                  </a:lnTo>
                  <a:lnTo>
                    <a:pt x="322" y="616"/>
                  </a:lnTo>
                  <a:lnTo>
                    <a:pt x="324" y="603"/>
                  </a:lnTo>
                  <a:lnTo>
                    <a:pt x="327" y="591"/>
                  </a:lnTo>
                  <a:lnTo>
                    <a:pt x="330" y="579"/>
                  </a:lnTo>
                  <a:lnTo>
                    <a:pt x="333" y="566"/>
                  </a:lnTo>
                  <a:lnTo>
                    <a:pt x="337" y="554"/>
                  </a:lnTo>
                  <a:lnTo>
                    <a:pt x="342" y="542"/>
                  </a:lnTo>
                  <a:lnTo>
                    <a:pt x="347" y="530"/>
                  </a:lnTo>
                  <a:lnTo>
                    <a:pt x="353" y="519"/>
                  </a:lnTo>
                  <a:lnTo>
                    <a:pt x="359" y="507"/>
                  </a:lnTo>
                  <a:lnTo>
                    <a:pt x="366" y="496"/>
                  </a:lnTo>
                  <a:lnTo>
                    <a:pt x="371" y="488"/>
                  </a:lnTo>
                  <a:lnTo>
                    <a:pt x="377" y="480"/>
                  </a:lnTo>
                  <a:lnTo>
                    <a:pt x="383" y="472"/>
                  </a:lnTo>
                  <a:lnTo>
                    <a:pt x="389" y="464"/>
                  </a:lnTo>
                  <a:lnTo>
                    <a:pt x="395" y="457"/>
                  </a:lnTo>
                  <a:lnTo>
                    <a:pt x="401" y="450"/>
                  </a:lnTo>
                  <a:lnTo>
                    <a:pt x="408" y="443"/>
                  </a:lnTo>
                  <a:lnTo>
                    <a:pt x="414" y="436"/>
                  </a:lnTo>
                  <a:lnTo>
                    <a:pt x="421" y="430"/>
                  </a:lnTo>
                  <a:lnTo>
                    <a:pt x="428" y="424"/>
                  </a:lnTo>
                  <a:lnTo>
                    <a:pt x="435" y="418"/>
                  </a:lnTo>
                  <a:lnTo>
                    <a:pt x="443" y="412"/>
                  </a:lnTo>
                  <a:lnTo>
                    <a:pt x="450" y="406"/>
                  </a:lnTo>
                  <a:lnTo>
                    <a:pt x="458" y="401"/>
                  </a:lnTo>
                  <a:lnTo>
                    <a:pt x="465" y="396"/>
                  </a:lnTo>
                  <a:lnTo>
                    <a:pt x="473" y="391"/>
                  </a:lnTo>
                  <a:lnTo>
                    <a:pt x="504" y="454"/>
                  </a:lnTo>
                  <a:lnTo>
                    <a:pt x="534" y="185"/>
                  </a:lnTo>
                  <a:lnTo>
                    <a:pt x="329" y="0"/>
                  </a:lnTo>
                  <a:lnTo>
                    <a:pt x="363" y="79"/>
                  </a:lnTo>
                  <a:lnTo>
                    <a:pt x="344" y="89"/>
                  </a:lnTo>
                  <a:lnTo>
                    <a:pt x="324" y="99"/>
                  </a:lnTo>
                  <a:lnTo>
                    <a:pt x="305" y="111"/>
                  </a:lnTo>
                  <a:lnTo>
                    <a:pt x="286" y="123"/>
                  </a:lnTo>
                  <a:lnTo>
                    <a:pt x="267" y="136"/>
                  </a:lnTo>
                  <a:lnTo>
                    <a:pt x="249" y="150"/>
                  </a:lnTo>
                  <a:lnTo>
                    <a:pt x="231" y="164"/>
                  </a:lnTo>
                  <a:lnTo>
                    <a:pt x="214" y="180"/>
                  </a:lnTo>
                  <a:lnTo>
                    <a:pt x="197" y="196"/>
                  </a:lnTo>
                  <a:lnTo>
                    <a:pt x="180" y="212"/>
                  </a:lnTo>
                  <a:lnTo>
                    <a:pt x="165" y="229"/>
                  </a:lnTo>
                  <a:lnTo>
                    <a:pt x="149" y="247"/>
                  </a:lnTo>
                  <a:lnTo>
                    <a:pt x="134" y="265"/>
                  </a:lnTo>
                  <a:lnTo>
                    <a:pt x="120" y="284"/>
                  </a:lnTo>
                  <a:lnTo>
                    <a:pt x="107" y="303"/>
                  </a:lnTo>
                  <a:lnTo>
                    <a:pt x="94" y="323"/>
                  </a:lnTo>
                  <a:lnTo>
                    <a:pt x="80" y="347"/>
                  </a:lnTo>
                  <a:lnTo>
                    <a:pt x="67" y="371"/>
                  </a:lnTo>
                  <a:lnTo>
                    <a:pt x="55" y="395"/>
                  </a:lnTo>
                  <a:lnTo>
                    <a:pt x="45" y="420"/>
                  </a:lnTo>
                  <a:lnTo>
                    <a:pt x="35" y="445"/>
                  </a:lnTo>
                  <a:lnTo>
                    <a:pt x="27" y="470"/>
                  </a:lnTo>
                  <a:lnTo>
                    <a:pt x="20" y="496"/>
                  </a:lnTo>
                  <a:lnTo>
                    <a:pt x="14" y="521"/>
                  </a:lnTo>
                  <a:lnTo>
                    <a:pt x="9" y="547"/>
                  </a:lnTo>
                  <a:lnTo>
                    <a:pt x="5" y="573"/>
                  </a:lnTo>
                  <a:lnTo>
                    <a:pt x="2" y="599"/>
                  </a:lnTo>
                  <a:lnTo>
                    <a:pt x="1" y="625"/>
                  </a:lnTo>
                  <a:lnTo>
                    <a:pt x="0" y="651"/>
                  </a:lnTo>
                  <a:lnTo>
                    <a:pt x="1" y="676"/>
                  </a:lnTo>
                  <a:lnTo>
                    <a:pt x="2" y="702"/>
                  </a:lnTo>
                  <a:lnTo>
                    <a:pt x="5" y="728"/>
                  </a:lnTo>
                  <a:lnTo>
                    <a:pt x="9" y="754"/>
                  </a:lnTo>
                  <a:lnTo>
                    <a:pt x="13" y="779"/>
                  </a:lnTo>
                  <a:lnTo>
                    <a:pt x="19" y="804"/>
                  </a:lnTo>
                  <a:lnTo>
                    <a:pt x="26" y="830"/>
                  </a:lnTo>
                  <a:lnTo>
                    <a:pt x="34" y="854"/>
                  </a:lnTo>
                  <a:lnTo>
                    <a:pt x="43" y="879"/>
                  </a:lnTo>
                  <a:lnTo>
                    <a:pt x="52" y="903"/>
                  </a:lnTo>
                  <a:lnTo>
                    <a:pt x="63" y="927"/>
                  </a:lnTo>
                  <a:lnTo>
                    <a:pt x="75" y="950"/>
                  </a:lnTo>
                  <a:lnTo>
                    <a:pt x="88" y="973"/>
                  </a:lnTo>
                  <a:lnTo>
                    <a:pt x="102" y="995"/>
                  </a:lnTo>
                  <a:lnTo>
                    <a:pt x="116" y="1017"/>
                  </a:lnTo>
                  <a:lnTo>
                    <a:pt x="132" y="1039"/>
                  </a:lnTo>
                  <a:lnTo>
                    <a:pt x="149" y="1060"/>
                  </a:lnTo>
                  <a:lnTo>
                    <a:pt x="166" y="1080"/>
                  </a:lnTo>
                  <a:lnTo>
                    <a:pt x="185" y="1099"/>
                  </a:lnTo>
                  <a:lnTo>
                    <a:pt x="230" y="935"/>
                  </a:lnTo>
                  <a:lnTo>
                    <a:pt x="398" y="870"/>
                  </a:lnTo>
                  <a:lnTo>
                    <a:pt x="398" y="870"/>
                  </a:lnTo>
                  <a:close/>
                </a:path>
              </a:pathLst>
            </a:custGeom>
            <a:solidFill>
              <a:schemeClr val="accent1"/>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2" name="Freeform 5">
              <a:extLst>
                <a:ext uri="{FF2B5EF4-FFF2-40B4-BE49-F238E27FC236}">
                  <a16:creationId xmlns:a16="http://schemas.microsoft.com/office/drawing/2014/main" id="{F685B697-1EA3-F9D4-BDBB-1008BF386840}"/>
                </a:ext>
              </a:extLst>
            </p:cNvPr>
            <p:cNvSpPr>
              <a:spLocks/>
            </p:cNvSpPr>
            <p:nvPr>
              <p:custDataLst>
                <p:tags r:id="rId2"/>
              </p:custDataLst>
            </p:nvPr>
          </p:nvSpPr>
          <p:spPr bwMode="auto">
            <a:xfrm rot="2315660">
              <a:off x="541641" y="4153153"/>
              <a:ext cx="4022822" cy="2005025"/>
            </a:xfrm>
            <a:custGeom>
              <a:avLst/>
              <a:gdLst>
                <a:gd name="T0" fmla="*/ 730 w 1037"/>
                <a:gd name="T1" fmla="*/ 11 h 526"/>
                <a:gd name="T2" fmla="*/ 719 w 1037"/>
                <a:gd name="T3" fmla="*/ 34 h 526"/>
                <a:gd name="T4" fmla="*/ 707 w 1037"/>
                <a:gd name="T5" fmla="*/ 56 h 526"/>
                <a:gd name="T6" fmla="*/ 693 w 1037"/>
                <a:gd name="T7" fmla="*/ 77 h 526"/>
                <a:gd name="T8" fmla="*/ 678 w 1037"/>
                <a:gd name="T9" fmla="*/ 96 h 526"/>
                <a:gd name="T10" fmla="*/ 661 w 1037"/>
                <a:gd name="T11" fmla="*/ 114 h 526"/>
                <a:gd name="T12" fmla="*/ 642 w 1037"/>
                <a:gd name="T13" fmla="*/ 131 h 526"/>
                <a:gd name="T14" fmla="*/ 623 w 1037"/>
                <a:gd name="T15" fmla="*/ 146 h 526"/>
                <a:gd name="T16" fmla="*/ 602 w 1037"/>
                <a:gd name="T17" fmla="*/ 160 h 526"/>
                <a:gd name="T18" fmla="*/ 580 w 1037"/>
                <a:gd name="T19" fmla="*/ 172 h 526"/>
                <a:gd name="T20" fmla="*/ 558 w 1037"/>
                <a:gd name="T21" fmla="*/ 182 h 526"/>
                <a:gd name="T22" fmla="*/ 534 w 1037"/>
                <a:gd name="T23" fmla="*/ 190 h 526"/>
                <a:gd name="T24" fmla="*/ 510 w 1037"/>
                <a:gd name="T25" fmla="*/ 197 h 526"/>
                <a:gd name="T26" fmla="*/ 484 w 1037"/>
                <a:gd name="T27" fmla="*/ 201 h 526"/>
                <a:gd name="T28" fmla="*/ 459 w 1037"/>
                <a:gd name="T29" fmla="*/ 204 h 526"/>
                <a:gd name="T30" fmla="*/ 432 w 1037"/>
                <a:gd name="T31" fmla="*/ 204 h 526"/>
                <a:gd name="T32" fmla="*/ 410 w 1037"/>
                <a:gd name="T33" fmla="*/ 203 h 526"/>
                <a:gd name="T34" fmla="*/ 391 w 1037"/>
                <a:gd name="T35" fmla="*/ 200 h 526"/>
                <a:gd name="T36" fmla="*/ 372 w 1037"/>
                <a:gd name="T37" fmla="*/ 196 h 526"/>
                <a:gd name="T38" fmla="*/ 353 w 1037"/>
                <a:gd name="T39" fmla="*/ 192 h 526"/>
                <a:gd name="T40" fmla="*/ 335 w 1037"/>
                <a:gd name="T41" fmla="*/ 186 h 526"/>
                <a:gd name="T42" fmla="*/ 318 w 1037"/>
                <a:gd name="T43" fmla="*/ 179 h 526"/>
                <a:gd name="T44" fmla="*/ 301 w 1037"/>
                <a:gd name="T45" fmla="*/ 171 h 526"/>
                <a:gd name="T46" fmla="*/ 285 w 1037"/>
                <a:gd name="T47" fmla="*/ 163 h 526"/>
                <a:gd name="T48" fmla="*/ 318 w 1037"/>
                <a:gd name="T49" fmla="*/ 101 h 526"/>
                <a:gd name="T50" fmla="*/ 0 w 1037"/>
                <a:gd name="T51" fmla="*/ 469 h 526"/>
                <a:gd name="T52" fmla="*/ 71 w 1037"/>
                <a:gd name="T53" fmla="*/ 414 h 526"/>
                <a:gd name="T54" fmla="*/ 108 w 1037"/>
                <a:gd name="T55" fmla="*/ 438 h 526"/>
                <a:gd name="T56" fmla="*/ 148 w 1037"/>
                <a:gd name="T57" fmla="*/ 460 h 526"/>
                <a:gd name="T58" fmla="*/ 190 w 1037"/>
                <a:gd name="T59" fmla="*/ 478 h 526"/>
                <a:gd name="T60" fmla="*/ 234 w 1037"/>
                <a:gd name="T61" fmla="*/ 494 h 526"/>
                <a:gd name="T62" fmla="*/ 279 w 1037"/>
                <a:gd name="T63" fmla="*/ 507 h 526"/>
                <a:gd name="T64" fmla="*/ 325 w 1037"/>
                <a:gd name="T65" fmla="*/ 516 h 526"/>
                <a:gd name="T66" fmla="*/ 371 w 1037"/>
                <a:gd name="T67" fmla="*/ 523 h 526"/>
                <a:gd name="T68" fmla="*/ 422 w 1037"/>
                <a:gd name="T69" fmla="*/ 526 h 526"/>
                <a:gd name="T70" fmla="*/ 476 w 1037"/>
                <a:gd name="T71" fmla="*/ 525 h 526"/>
                <a:gd name="T72" fmla="*/ 530 w 1037"/>
                <a:gd name="T73" fmla="*/ 519 h 526"/>
                <a:gd name="T74" fmla="*/ 582 w 1037"/>
                <a:gd name="T75" fmla="*/ 509 h 526"/>
                <a:gd name="T76" fmla="*/ 632 w 1037"/>
                <a:gd name="T77" fmla="*/ 495 h 526"/>
                <a:gd name="T78" fmla="*/ 681 w 1037"/>
                <a:gd name="T79" fmla="*/ 476 h 526"/>
                <a:gd name="T80" fmla="*/ 728 w 1037"/>
                <a:gd name="T81" fmla="*/ 454 h 526"/>
                <a:gd name="T82" fmla="*/ 773 w 1037"/>
                <a:gd name="T83" fmla="*/ 428 h 526"/>
                <a:gd name="T84" fmla="*/ 815 w 1037"/>
                <a:gd name="T85" fmla="*/ 398 h 526"/>
                <a:gd name="T86" fmla="*/ 855 w 1037"/>
                <a:gd name="T87" fmla="*/ 365 h 526"/>
                <a:gd name="T88" fmla="*/ 892 w 1037"/>
                <a:gd name="T89" fmla="*/ 329 h 526"/>
                <a:gd name="T90" fmla="*/ 926 w 1037"/>
                <a:gd name="T91" fmla="*/ 289 h 526"/>
                <a:gd name="T92" fmla="*/ 957 w 1037"/>
                <a:gd name="T93" fmla="*/ 247 h 526"/>
                <a:gd name="T94" fmla="*/ 985 w 1037"/>
                <a:gd name="T95" fmla="*/ 202 h 526"/>
                <a:gd name="T96" fmla="*/ 1009 w 1037"/>
                <a:gd name="T97" fmla="*/ 155 h 526"/>
                <a:gd name="T98" fmla="*/ 1029 w 1037"/>
                <a:gd name="T99" fmla="*/ 106 h 526"/>
                <a:gd name="T100" fmla="*/ 872 w 1037"/>
                <a:gd name="T101" fmla="*/ 117 h 526"/>
                <a:gd name="T102" fmla="*/ 735 w 1037"/>
                <a:gd name="T103"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7" h="526">
                  <a:moveTo>
                    <a:pt x="735" y="0"/>
                  </a:moveTo>
                  <a:lnTo>
                    <a:pt x="730" y="11"/>
                  </a:lnTo>
                  <a:lnTo>
                    <a:pt x="725" y="23"/>
                  </a:lnTo>
                  <a:lnTo>
                    <a:pt x="719" y="34"/>
                  </a:lnTo>
                  <a:lnTo>
                    <a:pt x="713" y="45"/>
                  </a:lnTo>
                  <a:lnTo>
                    <a:pt x="707" y="56"/>
                  </a:lnTo>
                  <a:lnTo>
                    <a:pt x="700" y="67"/>
                  </a:lnTo>
                  <a:lnTo>
                    <a:pt x="693" y="77"/>
                  </a:lnTo>
                  <a:lnTo>
                    <a:pt x="686" y="87"/>
                  </a:lnTo>
                  <a:lnTo>
                    <a:pt x="678" y="96"/>
                  </a:lnTo>
                  <a:lnTo>
                    <a:pt x="669" y="105"/>
                  </a:lnTo>
                  <a:lnTo>
                    <a:pt x="661" y="114"/>
                  </a:lnTo>
                  <a:lnTo>
                    <a:pt x="652" y="123"/>
                  </a:lnTo>
                  <a:lnTo>
                    <a:pt x="642" y="131"/>
                  </a:lnTo>
                  <a:lnTo>
                    <a:pt x="633" y="139"/>
                  </a:lnTo>
                  <a:lnTo>
                    <a:pt x="623" y="146"/>
                  </a:lnTo>
                  <a:lnTo>
                    <a:pt x="613" y="153"/>
                  </a:lnTo>
                  <a:lnTo>
                    <a:pt x="602" y="160"/>
                  </a:lnTo>
                  <a:lnTo>
                    <a:pt x="591" y="166"/>
                  </a:lnTo>
                  <a:lnTo>
                    <a:pt x="580" y="172"/>
                  </a:lnTo>
                  <a:lnTo>
                    <a:pt x="569" y="177"/>
                  </a:lnTo>
                  <a:lnTo>
                    <a:pt x="558" y="182"/>
                  </a:lnTo>
                  <a:lnTo>
                    <a:pt x="546" y="186"/>
                  </a:lnTo>
                  <a:lnTo>
                    <a:pt x="534" y="190"/>
                  </a:lnTo>
                  <a:lnTo>
                    <a:pt x="522" y="194"/>
                  </a:lnTo>
                  <a:lnTo>
                    <a:pt x="510" y="197"/>
                  </a:lnTo>
                  <a:lnTo>
                    <a:pt x="497" y="199"/>
                  </a:lnTo>
                  <a:lnTo>
                    <a:pt x="484" y="201"/>
                  </a:lnTo>
                  <a:lnTo>
                    <a:pt x="472" y="203"/>
                  </a:lnTo>
                  <a:lnTo>
                    <a:pt x="459" y="204"/>
                  </a:lnTo>
                  <a:lnTo>
                    <a:pt x="446" y="204"/>
                  </a:lnTo>
                  <a:lnTo>
                    <a:pt x="432" y="204"/>
                  </a:lnTo>
                  <a:lnTo>
                    <a:pt x="419" y="203"/>
                  </a:lnTo>
                  <a:lnTo>
                    <a:pt x="410" y="203"/>
                  </a:lnTo>
                  <a:lnTo>
                    <a:pt x="400" y="201"/>
                  </a:lnTo>
                  <a:lnTo>
                    <a:pt x="391" y="200"/>
                  </a:lnTo>
                  <a:lnTo>
                    <a:pt x="381" y="198"/>
                  </a:lnTo>
                  <a:lnTo>
                    <a:pt x="372" y="196"/>
                  </a:lnTo>
                  <a:lnTo>
                    <a:pt x="363" y="194"/>
                  </a:lnTo>
                  <a:lnTo>
                    <a:pt x="353" y="192"/>
                  </a:lnTo>
                  <a:lnTo>
                    <a:pt x="344" y="189"/>
                  </a:lnTo>
                  <a:lnTo>
                    <a:pt x="335" y="186"/>
                  </a:lnTo>
                  <a:lnTo>
                    <a:pt x="327" y="182"/>
                  </a:lnTo>
                  <a:lnTo>
                    <a:pt x="318" y="179"/>
                  </a:lnTo>
                  <a:lnTo>
                    <a:pt x="309" y="175"/>
                  </a:lnTo>
                  <a:lnTo>
                    <a:pt x="301" y="171"/>
                  </a:lnTo>
                  <a:lnTo>
                    <a:pt x="293" y="167"/>
                  </a:lnTo>
                  <a:lnTo>
                    <a:pt x="285" y="163"/>
                  </a:lnTo>
                  <a:lnTo>
                    <a:pt x="277" y="158"/>
                  </a:lnTo>
                  <a:lnTo>
                    <a:pt x="318" y="101"/>
                  </a:lnTo>
                  <a:lnTo>
                    <a:pt x="67" y="201"/>
                  </a:lnTo>
                  <a:lnTo>
                    <a:pt x="0" y="469"/>
                  </a:lnTo>
                  <a:lnTo>
                    <a:pt x="53" y="401"/>
                  </a:lnTo>
                  <a:lnTo>
                    <a:pt x="71" y="414"/>
                  </a:lnTo>
                  <a:lnTo>
                    <a:pt x="89" y="427"/>
                  </a:lnTo>
                  <a:lnTo>
                    <a:pt x="108" y="438"/>
                  </a:lnTo>
                  <a:lnTo>
                    <a:pt x="128" y="449"/>
                  </a:lnTo>
                  <a:lnTo>
                    <a:pt x="148" y="460"/>
                  </a:lnTo>
                  <a:lnTo>
                    <a:pt x="169" y="469"/>
                  </a:lnTo>
                  <a:lnTo>
                    <a:pt x="190" y="478"/>
                  </a:lnTo>
                  <a:lnTo>
                    <a:pt x="212" y="486"/>
                  </a:lnTo>
                  <a:lnTo>
                    <a:pt x="234" y="494"/>
                  </a:lnTo>
                  <a:lnTo>
                    <a:pt x="256" y="501"/>
                  </a:lnTo>
                  <a:lnTo>
                    <a:pt x="279" y="507"/>
                  </a:lnTo>
                  <a:lnTo>
                    <a:pt x="302" y="512"/>
                  </a:lnTo>
                  <a:lnTo>
                    <a:pt x="325" y="516"/>
                  </a:lnTo>
                  <a:lnTo>
                    <a:pt x="348" y="520"/>
                  </a:lnTo>
                  <a:lnTo>
                    <a:pt x="371" y="523"/>
                  </a:lnTo>
                  <a:lnTo>
                    <a:pt x="395" y="525"/>
                  </a:lnTo>
                  <a:lnTo>
                    <a:pt x="422" y="526"/>
                  </a:lnTo>
                  <a:lnTo>
                    <a:pt x="449" y="526"/>
                  </a:lnTo>
                  <a:lnTo>
                    <a:pt x="476" y="525"/>
                  </a:lnTo>
                  <a:lnTo>
                    <a:pt x="503" y="523"/>
                  </a:lnTo>
                  <a:lnTo>
                    <a:pt x="530" y="519"/>
                  </a:lnTo>
                  <a:lnTo>
                    <a:pt x="556" y="515"/>
                  </a:lnTo>
                  <a:lnTo>
                    <a:pt x="582" y="509"/>
                  </a:lnTo>
                  <a:lnTo>
                    <a:pt x="607" y="503"/>
                  </a:lnTo>
                  <a:lnTo>
                    <a:pt x="632" y="495"/>
                  </a:lnTo>
                  <a:lnTo>
                    <a:pt x="657" y="486"/>
                  </a:lnTo>
                  <a:lnTo>
                    <a:pt x="681" y="476"/>
                  </a:lnTo>
                  <a:lnTo>
                    <a:pt x="705" y="466"/>
                  </a:lnTo>
                  <a:lnTo>
                    <a:pt x="728" y="454"/>
                  </a:lnTo>
                  <a:lnTo>
                    <a:pt x="750" y="441"/>
                  </a:lnTo>
                  <a:lnTo>
                    <a:pt x="773" y="428"/>
                  </a:lnTo>
                  <a:lnTo>
                    <a:pt x="794" y="413"/>
                  </a:lnTo>
                  <a:lnTo>
                    <a:pt x="815" y="398"/>
                  </a:lnTo>
                  <a:lnTo>
                    <a:pt x="835" y="382"/>
                  </a:lnTo>
                  <a:lnTo>
                    <a:pt x="855" y="365"/>
                  </a:lnTo>
                  <a:lnTo>
                    <a:pt x="874" y="347"/>
                  </a:lnTo>
                  <a:lnTo>
                    <a:pt x="892" y="329"/>
                  </a:lnTo>
                  <a:lnTo>
                    <a:pt x="909" y="309"/>
                  </a:lnTo>
                  <a:lnTo>
                    <a:pt x="926" y="289"/>
                  </a:lnTo>
                  <a:lnTo>
                    <a:pt x="942" y="269"/>
                  </a:lnTo>
                  <a:lnTo>
                    <a:pt x="957" y="247"/>
                  </a:lnTo>
                  <a:lnTo>
                    <a:pt x="971" y="225"/>
                  </a:lnTo>
                  <a:lnTo>
                    <a:pt x="985" y="202"/>
                  </a:lnTo>
                  <a:lnTo>
                    <a:pt x="997" y="179"/>
                  </a:lnTo>
                  <a:lnTo>
                    <a:pt x="1009" y="155"/>
                  </a:lnTo>
                  <a:lnTo>
                    <a:pt x="1019" y="131"/>
                  </a:lnTo>
                  <a:lnTo>
                    <a:pt x="1029" y="106"/>
                  </a:lnTo>
                  <a:lnTo>
                    <a:pt x="1037" y="80"/>
                  </a:lnTo>
                  <a:lnTo>
                    <a:pt x="872" y="117"/>
                  </a:lnTo>
                  <a:lnTo>
                    <a:pt x="735" y="0"/>
                  </a:lnTo>
                  <a:lnTo>
                    <a:pt x="735" y="0"/>
                  </a:lnTo>
                  <a:close/>
                </a:path>
              </a:pathLst>
            </a:custGeom>
            <a:solidFill>
              <a:schemeClr val="bg1">
                <a:lumMod val="85000"/>
              </a:schemeClr>
            </a:solidFill>
            <a:ln w="1143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3" name="Freeform 4">
              <a:extLst>
                <a:ext uri="{FF2B5EF4-FFF2-40B4-BE49-F238E27FC236}">
                  <a16:creationId xmlns:a16="http://schemas.microsoft.com/office/drawing/2014/main" id="{36C74FD5-A61A-D7DE-01F9-F089AF621436}"/>
                </a:ext>
              </a:extLst>
            </p:cNvPr>
            <p:cNvSpPr>
              <a:spLocks/>
            </p:cNvSpPr>
            <p:nvPr>
              <p:custDataLst>
                <p:tags r:id="rId3"/>
              </p:custDataLst>
            </p:nvPr>
          </p:nvSpPr>
          <p:spPr bwMode="auto">
            <a:xfrm rot="2243846">
              <a:off x="2785322" y="2246716"/>
              <a:ext cx="3454520" cy="3128859"/>
            </a:xfrm>
            <a:custGeom>
              <a:avLst/>
              <a:gdLst>
                <a:gd name="T0" fmla="*/ 125 w 893"/>
                <a:gd name="T1" fmla="*/ 323 h 826"/>
                <a:gd name="T2" fmla="*/ 151 w 893"/>
                <a:gd name="T3" fmla="*/ 323 h 826"/>
                <a:gd name="T4" fmla="*/ 177 w 893"/>
                <a:gd name="T5" fmla="*/ 324 h 826"/>
                <a:gd name="T6" fmla="*/ 204 w 893"/>
                <a:gd name="T7" fmla="*/ 327 h 826"/>
                <a:gd name="T8" fmla="*/ 230 w 893"/>
                <a:gd name="T9" fmla="*/ 331 h 826"/>
                <a:gd name="T10" fmla="*/ 257 w 893"/>
                <a:gd name="T11" fmla="*/ 338 h 826"/>
                <a:gd name="T12" fmla="*/ 282 w 893"/>
                <a:gd name="T13" fmla="*/ 346 h 826"/>
                <a:gd name="T14" fmla="*/ 308 w 893"/>
                <a:gd name="T15" fmla="*/ 356 h 826"/>
                <a:gd name="T16" fmla="*/ 332 w 893"/>
                <a:gd name="T17" fmla="*/ 367 h 826"/>
                <a:gd name="T18" fmla="*/ 355 w 893"/>
                <a:gd name="T19" fmla="*/ 380 h 826"/>
                <a:gd name="T20" fmla="*/ 377 w 893"/>
                <a:gd name="T21" fmla="*/ 395 h 826"/>
                <a:gd name="T22" fmla="*/ 398 w 893"/>
                <a:gd name="T23" fmla="*/ 412 h 826"/>
                <a:gd name="T24" fmla="*/ 417 w 893"/>
                <a:gd name="T25" fmla="*/ 430 h 826"/>
                <a:gd name="T26" fmla="*/ 434 w 893"/>
                <a:gd name="T27" fmla="*/ 450 h 826"/>
                <a:gd name="T28" fmla="*/ 449 w 893"/>
                <a:gd name="T29" fmla="*/ 472 h 826"/>
                <a:gd name="T30" fmla="*/ 461 w 893"/>
                <a:gd name="T31" fmla="*/ 495 h 826"/>
                <a:gd name="T32" fmla="*/ 473 w 893"/>
                <a:gd name="T33" fmla="*/ 526 h 826"/>
                <a:gd name="T34" fmla="*/ 484 w 893"/>
                <a:gd name="T35" fmla="*/ 563 h 826"/>
                <a:gd name="T36" fmla="*/ 488 w 893"/>
                <a:gd name="T37" fmla="*/ 581 h 826"/>
                <a:gd name="T38" fmla="*/ 491 w 893"/>
                <a:gd name="T39" fmla="*/ 600 h 826"/>
                <a:gd name="T40" fmla="*/ 492 w 893"/>
                <a:gd name="T41" fmla="*/ 619 h 826"/>
                <a:gd name="T42" fmla="*/ 493 w 893"/>
                <a:gd name="T43" fmla="*/ 637 h 826"/>
                <a:gd name="T44" fmla="*/ 492 w 893"/>
                <a:gd name="T45" fmla="*/ 655 h 826"/>
                <a:gd name="T46" fmla="*/ 623 w 893"/>
                <a:gd name="T47" fmla="*/ 826 h 826"/>
                <a:gd name="T48" fmla="*/ 809 w 893"/>
                <a:gd name="T49" fmla="*/ 750 h 826"/>
                <a:gd name="T50" fmla="*/ 816 w 893"/>
                <a:gd name="T51" fmla="*/ 706 h 826"/>
                <a:gd name="T52" fmla="*/ 819 w 893"/>
                <a:gd name="T53" fmla="*/ 662 h 826"/>
                <a:gd name="T54" fmla="*/ 819 w 893"/>
                <a:gd name="T55" fmla="*/ 616 h 826"/>
                <a:gd name="T56" fmla="*/ 816 w 893"/>
                <a:gd name="T57" fmla="*/ 570 h 826"/>
                <a:gd name="T58" fmla="*/ 809 w 893"/>
                <a:gd name="T59" fmla="*/ 524 h 826"/>
                <a:gd name="T60" fmla="*/ 799 w 893"/>
                <a:gd name="T61" fmla="*/ 478 h 826"/>
                <a:gd name="T62" fmla="*/ 786 w 893"/>
                <a:gd name="T63" fmla="*/ 433 h 826"/>
                <a:gd name="T64" fmla="*/ 770 w 893"/>
                <a:gd name="T65" fmla="*/ 389 h 826"/>
                <a:gd name="T66" fmla="*/ 758 w 893"/>
                <a:gd name="T67" fmla="*/ 362 h 826"/>
                <a:gd name="T68" fmla="*/ 745 w 893"/>
                <a:gd name="T69" fmla="*/ 337 h 826"/>
                <a:gd name="T70" fmla="*/ 731 w 893"/>
                <a:gd name="T71" fmla="*/ 311 h 826"/>
                <a:gd name="T72" fmla="*/ 716 w 893"/>
                <a:gd name="T73" fmla="*/ 287 h 826"/>
                <a:gd name="T74" fmla="*/ 700 w 893"/>
                <a:gd name="T75" fmla="*/ 263 h 826"/>
                <a:gd name="T76" fmla="*/ 682 w 893"/>
                <a:gd name="T77" fmla="*/ 241 h 826"/>
                <a:gd name="T78" fmla="*/ 645 w 893"/>
                <a:gd name="T79" fmla="*/ 198 h 826"/>
                <a:gd name="T80" fmla="*/ 604 w 893"/>
                <a:gd name="T81" fmla="*/ 159 h 826"/>
                <a:gd name="T82" fmla="*/ 560 w 893"/>
                <a:gd name="T83" fmla="*/ 123 h 826"/>
                <a:gd name="T84" fmla="*/ 512 w 893"/>
                <a:gd name="T85" fmla="*/ 92 h 826"/>
                <a:gd name="T86" fmla="*/ 462 w 893"/>
                <a:gd name="T87" fmla="*/ 65 h 826"/>
                <a:gd name="T88" fmla="*/ 410 w 893"/>
                <a:gd name="T89" fmla="*/ 42 h 826"/>
                <a:gd name="T90" fmla="*/ 355 w 893"/>
                <a:gd name="T91" fmla="*/ 24 h 826"/>
                <a:gd name="T92" fmla="*/ 299 w 893"/>
                <a:gd name="T93" fmla="*/ 11 h 826"/>
                <a:gd name="T94" fmla="*/ 241 w 893"/>
                <a:gd name="T95" fmla="*/ 3 h 826"/>
                <a:gd name="T96" fmla="*/ 211 w 893"/>
                <a:gd name="T97" fmla="*/ 1 h 826"/>
                <a:gd name="T98" fmla="*/ 181 w 893"/>
                <a:gd name="T99" fmla="*/ 0 h 826"/>
                <a:gd name="T100" fmla="*/ 151 w 893"/>
                <a:gd name="T101" fmla="*/ 0 h 826"/>
                <a:gd name="T102" fmla="*/ 121 w 893"/>
                <a:gd name="T103" fmla="*/ 2 h 826"/>
                <a:gd name="T104" fmla="*/ 91 w 893"/>
                <a:gd name="T105" fmla="*/ 6 h 826"/>
                <a:gd name="T106" fmla="*/ 61 w 893"/>
                <a:gd name="T107" fmla="*/ 10 h 826"/>
                <a:gd name="T108" fmla="*/ 30 w 893"/>
                <a:gd name="T109" fmla="*/ 17 h 826"/>
                <a:gd name="T110" fmla="*/ 0 w 893"/>
                <a:gd name="T111" fmla="*/ 24 h 826"/>
                <a:gd name="T112" fmla="*/ 112 w 893"/>
                <a:gd name="T113" fmla="*/ 3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3" h="826">
                  <a:moveTo>
                    <a:pt x="112" y="325"/>
                  </a:moveTo>
                  <a:lnTo>
                    <a:pt x="125" y="323"/>
                  </a:lnTo>
                  <a:lnTo>
                    <a:pt x="138" y="323"/>
                  </a:lnTo>
                  <a:lnTo>
                    <a:pt x="151" y="323"/>
                  </a:lnTo>
                  <a:lnTo>
                    <a:pt x="164" y="323"/>
                  </a:lnTo>
                  <a:lnTo>
                    <a:pt x="177" y="324"/>
                  </a:lnTo>
                  <a:lnTo>
                    <a:pt x="190" y="325"/>
                  </a:lnTo>
                  <a:lnTo>
                    <a:pt x="204" y="327"/>
                  </a:lnTo>
                  <a:lnTo>
                    <a:pt x="217" y="329"/>
                  </a:lnTo>
                  <a:lnTo>
                    <a:pt x="230" y="331"/>
                  </a:lnTo>
                  <a:lnTo>
                    <a:pt x="243" y="334"/>
                  </a:lnTo>
                  <a:lnTo>
                    <a:pt x="257" y="338"/>
                  </a:lnTo>
                  <a:lnTo>
                    <a:pt x="270" y="341"/>
                  </a:lnTo>
                  <a:lnTo>
                    <a:pt x="282" y="346"/>
                  </a:lnTo>
                  <a:lnTo>
                    <a:pt x="295" y="350"/>
                  </a:lnTo>
                  <a:lnTo>
                    <a:pt x="308" y="356"/>
                  </a:lnTo>
                  <a:lnTo>
                    <a:pt x="320" y="361"/>
                  </a:lnTo>
                  <a:lnTo>
                    <a:pt x="332" y="367"/>
                  </a:lnTo>
                  <a:lnTo>
                    <a:pt x="344" y="374"/>
                  </a:lnTo>
                  <a:lnTo>
                    <a:pt x="355" y="380"/>
                  </a:lnTo>
                  <a:lnTo>
                    <a:pt x="367" y="388"/>
                  </a:lnTo>
                  <a:lnTo>
                    <a:pt x="377" y="395"/>
                  </a:lnTo>
                  <a:lnTo>
                    <a:pt x="388" y="404"/>
                  </a:lnTo>
                  <a:lnTo>
                    <a:pt x="398" y="412"/>
                  </a:lnTo>
                  <a:lnTo>
                    <a:pt x="408" y="421"/>
                  </a:lnTo>
                  <a:lnTo>
                    <a:pt x="417" y="430"/>
                  </a:lnTo>
                  <a:lnTo>
                    <a:pt x="426" y="440"/>
                  </a:lnTo>
                  <a:lnTo>
                    <a:pt x="434" y="450"/>
                  </a:lnTo>
                  <a:lnTo>
                    <a:pt x="442" y="461"/>
                  </a:lnTo>
                  <a:lnTo>
                    <a:pt x="449" y="472"/>
                  </a:lnTo>
                  <a:lnTo>
                    <a:pt x="455" y="484"/>
                  </a:lnTo>
                  <a:lnTo>
                    <a:pt x="461" y="495"/>
                  </a:lnTo>
                  <a:lnTo>
                    <a:pt x="467" y="508"/>
                  </a:lnTo>
                  <a:lnTo>
                    <a:pt x="473" y="526"/>
                  </a:lnTo>
                  <a:lnTo>
                    <a:pt x="479" y="544"/>
                  </a:lnTo>
                  <a:lnTo>
                    <a:pt x="484" y="563"/>
                  </a:lnTo>
                  <a:lnTo>
                    <a:pt x="486" y="572"/>
                  </a:lnTo>
                  <a:lnTo>
                    <a:pt x="488" y="581"/>
                  </a:lnTo>
                  <a:lnTo>
                    <a:pt x="490" y="591"/>
                  </a:lnTo>
                  <a:lnTo>
                    <a:pt x="491" y="600"/>
                  </a:lnTo>
                  <a:lnTo>
                    <a:pt x="492" y="609"/>
                  </a:lnTo>
                  <a:lnTo>
                    <a:pt x="492" y="619"/>
                  </a:lnTo>
                  <a:lnTo>
                    <a:pt x="493" y="628"/>
                  </a:lnTo>
                  <a:lnTo>
                    <a:pt x="493" y="637"/>
                  </a:lnTo>
                  <a:lnTo>
                    <a:pt x="492" y="646"/>
                  </a:lnTo>
                  <a:lnTo>
                    <a:pt x="492" y="655"/>
                  </a:lnTo>
                  <a:lnTo>
                    <a:pt x="422" y="644"/>
                  </a:lnTo>
                  <a:lnTo>
                    <a:pt x="623" y="826"/>
                  </a:lnTo>
                  <a:lnTo>
                    <a:pt x="893" y="768"/>
                  </a:lnTo>
                  <a:lnTo>
                    <a:pt x="809" y="750"/>
                  </a:lnTo>
                  <a:lnTo>
                    <a:pt x="813" y="728"/>
                  </a:lnTo>
                  <a:lnTo>
                    <a:pt x="816" y="706"/>
                  </a:lnTo>
                  <a:lnTo>
                    <a:pt x="818" y="684"/>
                  </a:lnTo>
                  <a:lnTo>
                    <a:pt x="819" y="662"/>
                  </a:lnTo>
                  <a:lnTo>
                    <a:pt x="819" y="639"/>
                  </a:lnTo>
                  <a:lnTo>
                    <a:pt x="819" y="616"/>
                  </a:lnTo>
                  <a:lnTo>
                    <a:pt x="818" y="593"/>
                  </a:lnTo>
                  <a:lnTo>
                    <a:pt x="816" y="570"/>
                  </a:lnTo>
                  <a:lnTo>
                    <a:pt x="813" y="547"/>
                  </a:lnTo>
                  <a:lnTo>
                    <a:pt x="809" y="524"/>
                  </a:lnTo>
                  <a:lnTo>
                    <a:pt x="804" y="501"/>
                  </a:lnTo>
                  <a:lnTo>
                    <a:pt x="799" y="478"/>
                  </a:lnTo>
                  <a:lnTo>
                    <a:pt x="793" y="455"/>
                  </a:lnTo>
                  <a:lnTo>
                    <a:pt x="786" y="433"/>
                  </a:lnTo>
                  <a:lnTo>
                    <a:pt x="778" y="411"/>
                  </a:lnTo>
                  <a:lnTo>
                    <a:pt x="770" y="389"/>
                  </a:lnTo>
                  <a:lnTo>
                    <a:pt x="764" y="376"/>
                  </a:lnTo>
                  <a:lnTo>
                    <a:pt x="758" y="362"/>
                  </a:lnTo>
                  <a:lnTo>
                    <a:pt x="752" y="349"/>
                  </a:lnTo>
                  <a:lnTo>
                    <a:pt x="745" y="337"/>
                  </a:lnTo>
                  <a:lnTo>
                    <a:pt x="738" y="324"/>
                  </a:lnTo>
                  <a:lnTo>
                    <a:pt x="731" y="311"/>
                  </a:lnTo>
                  <a:lnTo>
                    <a:pt x="723" y="299"/>
                  </a:lnTo>
                  <a:lnTo>
                    <a:pt x="716" y="287"/>
                  </a:lnTo>
                  <a:lnTo>
                    <a:pt x="708" y="275"/>
                  </a:lnTo>
                  <a:lnTo>
                    <a:pt x="700" y="263"/>
                  </a:lnTo>
                  <a:lnTo>
                    <a:pt x="691" y="252"/>
                  </a:lnTo>
                  <a:lnTo>
                    <a:pt x="682" y="241"/>
                  </a:lnTo>
                  <a:lnTo>
                    <a:pt x="664" y="219"/>
                  </a:lnTo>
                  <a:lnTo>
                    <a:pt x="645" y="198"/>
                  </a:lnTo>
                  <a:lnTo>
                    <a:pt x="625" y="178"/>
                  </a:lnTo>
                  <a:lnTo>
                    <a:pt x="604" y="159"/>
                  </a:lnTo>
                  <a:lnTo>
                    <a:pt x="582" y="141"/>
                  </a:lnTo>
                  <a:lnTo>
                    <a:pt x="560" y="123"/>
                  </a:lnTo>
                  <a:lnTo>
                    <a:pt x="536" y="107"/>
                  </a:lnTo>
                  <a:lnTo>
                    <a:pt x="512" y="92"/>
                  </a:lnTo>
                  <a:lnTo>
                    <a:pt x="488" y="78"/>
                  </a:lnTo>
                  <a:lnTo>
                    <a:pt x="462" y="65"/>
                  </a:lnTo>
                  <a:lnTo>
                    <a:pt x="436" y="53"/>
                  </a:lnTo>
                  <a:lnTo>
                    <a:pt x="410" y="42"/>
                  </a:lnTo>
                  <a:lnTo>
                    <a:pt x="383" y="33"/>
                  </a:lnTo>
                  <a:lnTo>
                    <a:pt x="355" y="24"/>
                  </a:lnTo>
                  <a:lnTo>
                    <a:pt x="327" y="17"/>
                  </a:lnTo>
                  <a:lnTo>
                    <a:pt x="299" y="11"/>
                  </a:lnTo>
                  <a:lnTo>
                    <a:pt x="270" y="6"/>
                  </a:lnTo>
                  <a:lnTo>
                    <a:pt x="241" y="3"/>
                  </a:lnTo>
                  <a:lnTo>
                    <a:pt x="226" y="2"/>
                  </a:lnTo>
                  <a:lnTo>
                    <a:pt x="211" y="1"/>
                  </a:lnTo>
                  <a:lnTo>
                    <a:pt x="196" y="0"/>
                  </a:lnTo>
                  <a:lnTo>
                    <a:pt x="181" y="0"/>
                  </a:lnTo>
                  <a:lnTo>
                    <a:pt x="166" y="0"/>
                  </a:lnTo>
                  <a:lnTo>
                    <a:pt x="151" y="0"/>
                  </a:lnTo>
                  <a:lnTo>
                    <a:pt x="136" y="1"/>
                  </a:lnTo>
                  <a:lnTo>
                    <a:pt x="121" y="2"/>
                  </a:lnTo>
                  <a:lnTo>
                    <a:pt x="106" y="4"/>
                  </a:lnTo>
                  <a:lnTo>
                    <a:pt x="91" y="6"/>
                  </a:lnTo>
                  <a:lnTo>
                    <a:pt x="76" y="8"/>
                  </a:lnTo>
                  <a:lnTo>
                    <a:pt x="61" y="10"/>
                  </a:lnTo>
                  <a:lnTo>
                    <a:pt x="45" y="13"/>
                  </a:lnTo>
                  <a:lnTo>
                    <a:pt x="30" y="17"/>
                  </a:lnTo>
                  <a:lnTo>
                    <a:pt x="15" y="20"/>
                  </a:lnTo>
                  <a:lnTo>
                    <a:pt x="0" y="24"/>
                  </a:lnTo>
                  <a:lnTo>
                    <a:pt x="135" y="154"/>
                  </a:lnTo>
                  <a:lnTo>
                    <a:pt x="112" y="325"/>
                  </a:lnTo>
                  <a:lnTo>
                    <a:pt x="112" y="325"/>
                  </a:lnTo>
                  <a:close/>
                </a:path>
              </a:pathLst>
            </a:custGeom>
            <a:solidFill>
              <a:srgbClr val="D9D9D9"/>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4" name="TextBox 13">
              <a:extLst>
                <a:ext uri="{FF2B5EF4-FFF2-40B4-BE49-F238E27FC236}">
                  <a16:creationId xmlns:a16="http://schemas.microsoft.com/office/drawing/2014/main" id="{A7FE90ED-CB2F-DC5C-73D3-4683A8A9BAC3}"/>
                </a:ext>
              </a:extLst>
            </p:cNvPr>
            <p:cNvSpPr txBox="1"/>
            <p:nvPr/>
          </p:nvSpPr>
          <p:spPr>
            <a:xfrm rot="20514076">
              <a:off x="1323245" y="1878150"/>
              <a:ext cx="3785064" cy="3814007"/>
            </a:xfrm>
            <a:prstGeom prst="rect">
              <a:avLst/>
            </a:prstGeom>
            <a:noFill/>
            <a:ln w="28575">
              <a:noFill/>
            </a:ln>
          </p:spPr>
          <p:txBody>
            <a:bodyPr wrap="square" lIns="109728" tIns="54864" rIns="109728" bIns="54864" rtlCol="0">
              <a:prstTxWarp prst="textArchUp">
                <a:avLst>
                  <a:gd name="adj" fmla="val 5811603"/>
                </a:avLst>
              </a:prstTxWarp>
              <a:spAutoFit/>
            </a:bodyPr>
            <a:lstStyle/>
            <a:p>
              <a:r>
                <a:rPr lang="en-US" sz="2000" b="1" dirty="0">
                  <a:solidFill>
                    <a:schemeClr val="bg1"/>
                  </a:solidFill>
                </a:rPr>
                <a:t>IDENTIFY LEADERS           INVEST &amp; DEVELOP             FORECAST VACANCIES       </a:t>
              </a:r>
            </a:p>
          </p:txBody>
        </p:sp>
      </p:grpSp>
    </p:spTree>
    <p:extLst>
      <p:ext uri="{BB962C8B-B14F-4D97-AF65-F5344CB8AC3E}">
        <p14:creationId xmlns:p14="http://schemas.microsoft.com/office/powerpoint/2010/main" val="38370989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220E93C-4A3D-4B9E-17E6-577EE2AC05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6" name="think-cell data - do not delete" hidden="1">
                        <a:extLst>
                          <a:ext uri="{FF2B5EF4-FFF2-40B4-BE49-F238E27FC236}">
                            <a16:creationId xmlns:a16="http://schemas.microsoft.com/office/drawing/2014/main" id="{1220E93C-4A3D-4B9E-17E6-577EE2AC05A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D55B924-6DF2-5BFA-E803-A3F2CA1DC12B}"/>
              </a:ext>
            </a:extLst>
          </p:cNvPr>
          <p:cNvSpPr>
            <a:spLocks noGrp="1"/>
          </p:cNvSpPr>
          <p:nvPr>
            <p:ph type="title"/>
          </p:nvPr>
        </p:nvSpPr>
        <p:spPr>
          <a:xfrm>
            <a:off x="355600" y="237067"/>
            <a:ext cx="11125200" cy="350837"/>
          </a:xfrm>
        </p:spPr>
        <p:txBody>
          <a:bodyPr vert="horz"/>
          <a:lstStyle/>
          <a:p>
            <a:r>
              <a:rPr lang="en-US" sz="2800" dirty="0"/>
              <a:t>The third step of Vacancy Planning is investing in and developing those you have identified</a:t>
            </a:r>
            <a:endParaRPr lang="en-US" dirty="0">
              <a:solidFill>
                <a:schemeClr val="accent1"/>
              </a:solidFill>
            </a:endParaRPr>
          </a:p>
        </p:txBody>
      </p:sp>
      <p:grpSp>
        <p:nvGrpSpPr>
          <p:cNvPr id="21" name="Group 20">
            <a:extLst>
              <a:ext uri="{FF2B5EF4-FFF2-40B4-BE49-F238E27FC236}">
                <a16:creationId xmlns:a16="http://schemas.microsoft.com/office/drawing/2014/main" id="{4632B88A-0050-B9D1-03EF-AB03E2E3A28A}"/>
              </a:ext>
            </a:extLst>
          </p:cNvPr>
          <p:cNvGrpSpPr/>
          <p:nvPr/>
        </p:nvGrpSpPr>
        <p:grpSpPr>
          <a:xfrm>
            <a:off x="5165913" y="1544922"/>
            <a:ext cx="299226" cy="4689987"/>
            <a:chOff x="6869472" y="1715088"/>
            <a:chExt cx="299226" cy="4689987"/>
          </a:xfrm>
        </p:grpSpPr>
        <p:cxnSp>
          <p:nvCxnSpPr>
            <p:cNvPr id="22" name="LineContentSeparatorDefaultVertical 231">
              <a:extLst>
                <a:ext uri="{FF2B5EF4-FFF2-40B4-BE49-F238E27FC236}">
                  <a16:creationId xmlns:a16="http://schemas.microsoft.com/office/drawing/2014/main" id="{ADCCF644-8471-2598-3DB5-4BF549868DE8}"/>
                </a:ext>
              </a:extLst>
            </p:cNvPr>
            <p:cNvCxnSpPr>
              <a:cxnSpLocks/>
            </p:cNvCxnSpPr>
            <p:nvPr>
              <p:custDataLst>
                <p:tags r:id="rId5"/>
              </p:custDataLst>
            </p:nvPr>
          </p:nvCxnSpPr>
          <p:spPr>
            <a:xfrm>
              <a:off x="7019086" y="2182797"/>
              <a:ext cx="0" cy="4222278"/>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3" name="ChevronBlue 39">
              <a:extLst>
                <a:ext uri="{FF2B5EF4-FFF2-40B4-BE49-F238E27FC236}">
                  <a16:creationId xmlns:a16="http://schemas.microsoft.com/office/drawing/2014/main" id="{D0CD1A2E-EA58-F7DE-1384-61B83A0CC5CF}"/>
                </a:ext>
              </a:extLst>
            </p:cNvPr>
            <p:cNvGrpSpPr>
              <a:grpSpLocks noChangeAspect="1"/>
            </p:cNvGrpSpPr>
            <p:nvPr>
              <p:custDataLst>
                <p:tags r:id="rId6"/>
              </p:custDataLst>
            </p:nvPr>
          </p:nvGrpSpPr>
          <p:grpSpPr>
            <a:xfrm>
              <a:off x="6869472" y="1715088"/>
              <a:ext cx="299226" cy="299226"/>
              <a:chOff x="1016000" y="1016000"/>
              <a:chExt cx="396228" cy="396228"/>
            </a:xfrm>
            <a:solidFill>
              <a:srgbClr val="002E6D"/>
            </a:solidFill>
          </p:grpSpPr>
          <p:sp>
            <p:nvSpPr>
              <p:cNvPr id="24" name="Oval 23">
                <a:extLst>
                  <a:ext uri="{FF2B5EF4-FFF2-40B4-BE49-F238E27FC236}">
                    <a16:creationId xmlns:a16="http://schemas.microsoft.com/office/drawing/2014/main" id="{8204C566-88FC-0010-54CA-D6918E2FB18A}"/>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tx1"/>
                  </a:solidFill>
                </a:endParaRPr>
              </a:p>
            </p:txBody>
          </p:sp>
          <p:pic>
            <p:nvPicPr>
              <p:cNvPr id="25" name="Graphic 24">
                <a:extLst>
                  <a:ext uri="{FF2B5EF4-FFF2-40B4-BE49-F238E27FC236}">
                    <a16:creationId xmlns:a16="http://schemas.microsoft.com/office/drawing/2014/main" id="{076E65F8-2CE3-D19B-90D5-3167EA5890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23614" y="1023614"/>
                <a:ext cx="381000" cy="381000"/>
              </a:xfrm>
              <a:prstGeom prst="rect">
                <a:avLst/>
              </a:prstGeom>
            </p:spPr>
          </p:pic>
        </p:grpSp>
      </p:grpSp>
      <p:sp>
        <p:nvSpPr>
          <p:cNvPr id="27" name="TextBox 26">
            <a:extLst>
              <a:ext uri="{FF2B5EF4-FFF2-40B4-BE49-F238E27FC236}">
                <a16:creationId xmlns:a16="http://schemas.microsoft.com/office/drawing/2014/main" id="{73B0A776-B232-2CFE-E55D-D204E13E1509}"/>
              </a:ext>
            </a:extLst>
          </p:cNvPr>
          <p:cNvSpPr txBox="1">
            <a:spLocks/>
          </p:cNvSpPr>
          <p:nvPr/>
        </p:nvSpPr>
        <p:spPr>
          <a:xfrm>
            <a:off x="5984553" y="1544922"/>
            <a:ext cx="5496245" cy="387029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dirty="0"/>
              <a:t>The purpose of Vacancy Planning is to help you strengthen your bench by thoughtfully and intentionally investing in and developing the future leaders in your system. In this process we encourage you to think about three questions:</a:t>
            </a:r>
          </a:p>
          <a:p>
            <a:pPr>
              <a:buNone/>
            </a:pPr>
            <a:endParaRPr lang="en-US" sz="1800" dirty="0"/>
          </a:p>
          <a:p>
            <a:pPr lvl="1" indent="-228600">
              <a:buClr>
                <a:schemeClr val="accent1"/>
              </a:buClr>
              <a:buSzPct val="100000"/>
              <a:buFont typeface="Segoe UI" panose="020B0502040204020203" pitchFamily="34" charset="0"/>
              <a:buAutoNum type="arabicPeriod"/>
            </a:pPr>
            <a:r>
              <a:rPr lang="en-US" sz="1800" dirty="0"/>
              <a:t>What are the leadership development </a:t>
            </a:r>
            <a:r>
              <a:rPr lang="en-US" sz="1800" b="1" dirty="0"/>
              <a:t>opportunities </a:t>
            </a:r>
            <a:r>
              <a:rPr lang="en-US" sz="1800" dirty="0"/>
              <a:t>we currently provide in our district?</a:t>
            </a:r>
          </a:p>
          <a:p>
            <a:pPr lvl="1" indent="-228600">
              <a:buClr>
                <a:schemeClr val="accent1"/>
              </a:buClr>
              <a:buSzPct val="100000"/>
              <a:buFont typeface="Segoe UI" panose="020B0502040204020203" pitchFamily="34" charset="0"/>
              <a:buAutoNum type="arabicPeriod"/>
            </a:pPr>
            <a:endParaRPr lang="en-US" sz="1800" dirty="0"/>
          </a:p>
          <a:p>
            <a:pPr lvl="1" indent="-228600">
              <a:buClr>
                <a:schemeClr val="accent1"/>
              </a:buClr>
              <a:buSzPct val="100000"/>
              <a:buFont typeface="Segoe UI" panose="020B0502040204020203" pitchFamily="34" charset="0"/>
              <a:buAutoNum type="arabicPeriod"/>
            </a:pPr>
            <a:r>
              <a:rPr lang="en-US" sz="1800" dirty="0"/>
              <a:t>What needs is each opportunity </a:t>
            </a:r>
            <a:r>
              <a:rPr lang="en-US" sz="1800" b="1" dirty="0"/>
              <a:t>best positioned to address</a:t>
            </a:r>
            <a:r>
              <a:rPr lang="en-US" sz="1800" dirty="0"/>
              <a:t>?</a:t>
            </a:r>
          </a:p>
          <a:p>
            <a:pPr lvl="1" indent="-228600">
              <a:buClr>
                <a:schemeClr val="accent1"/>
              </a:buClr>
              <a:buSzPct val="100000"/>
              <a:buFont typeface="Segoe UI" panose="020B0502040204020203" pitchFamily="34" charset="0"/>
              <a:buAutoNum type="arabicPeriod"/>
            </a:pPr>
            <a:endParaRPr lang="en-US" sz="1800" dirty="0"/>
          </a:p>
          <a:p>
            <a:pPr lvl="1" indent="-228600">
              <a:buClr>
                <a:schemeClr val="accent1"/>
              </a:buClr>
              <a:buSzPct val="100000"/>
              <a:buFont typeface="Segoe UI" panose="020B0502040204020203" pitchFamily="34" charset="0"/>
              <a:buAutoNum type="arabicPeriod"/>
            </a:pPr>
            <a:r>
              <a:rPr lang="en-US" sz="1800" dirty="0"/>
              <a:t>What opportunities are the </a:t>
            </a:r>
            <a:r>
              <a:rPr lang="en-US" sz="1800" b="1" dirty="0"/>
              <a:t>best fit </a:t>
            </a:r>
            <a:r>
              <a:rPr lang="en-US" sz="1800" dirty="0"/>
              <a:t>for addressing each individual’s development needs?</a:t>
            </a:r>
          </a:p>
        </p:txBody>
      </p:sp>
      <p:sp>
        <p:nvSpPr>
          <p:cNvPr id="5" name="Freeform 3">
            <a:extLst>
              <a:ext uri="{FF2B5EF4-FFF2-40B4-BE49-F238E27FC236}">
                <a16:creationId xmlns:a16="http://schemas.microsoft.com/office/drawing/2014/main" id="{D37515A9-5737-A5FB-45A7-159CA595B64B}"/>
              </a:ext>
            </a:extLst>
          </p:cNvPr>
          <p:cNvSpPr>
            <a:spLocks/>
          </p:cNvSpPr>
          <p:nvPr>
            <p:custDataLst>
              <p:tags r:id="rId2"/>
            </p:custDataLst>
          </p:nvPr>
        </p:nvSpPr>
        <p:spPr bwMode="auto">
          <a:xfrm rot="2315660">
            <a:off x="1360533" y="1021175"/>
            <a:ext cx="1610885" cy="3246700"/>
          </a:xfrm>
          <a:custGeom>
            <a:avLst/>
            <a:gdLst>
              <a:gd name="T0" fmla="*/ 390 w 534"/>
              <a:gd name="T1" fmla="*/ 860 h 1099"/>
              <a:gd name="T2" fmla="*/ 375 w 534"/>
              <a:gd name="T3" fmla="*/ 840 h 1099"/>
              <a:gd name="T4" fmla="*/ 361 w 534"/>
              <a:gd name="T5" fmla="*/ 819 h 1099"/>
              <a:gd name="T6" fmla="*/ 349 w 534"/>
              <a:gd name="T7" fmla="*/ 797 h 1099"/>
              <a:gd name="T8" fmla="*/ 340 w 534"/>
              <a:gd name="T9" fmla="*/ 774 h 1099"/>
              <a:gd name="T10" fmla="*/ 332 w 534"/>
              <a:gd name="T11" fmla="*/ 751 h 1099"/>
              <a:gd name="T12" fmla="*/ 326 w 534"/>
              <a:gd name="T13" fmla="*/ 727 h 1099"/>
              <a:gd name="T14" fmla="*/ 321 w 534"/>
              <a:gd name="T15" fmla="*/ 702 h 1099"/>
              <a:gd name="T16" fmla="*/ 319 w 534"/>
              <a:gd name="T17" fmla="*/ 678 h 1099"/>
              <a:gd name="T18" fmla="*/ 319 w 534"/>
              <a:gd name="T19" fmla="*/ 653 h 1099"/>
              <a:gd name="T20" fmla="*/ 320 w 534"/>
              <a:gd name="T21" fmla="*/ 628 h 1099"/>
              <a:gd name="T22" fmla="*/ 324 w 534"/>
              <a:gd name="T23" fmla="*/ 603 h 1099"/>
              <a:gd name="T24" fmla="*/ 330 w 534"/>
              <a:gd name="T25" fmla="*/ 579 h 1099"/>
              <a:gd name="T26" fmla="*/ 337 w 534"/>
              <a:gd name="T27" fmla="*/ 554 h 1099"/>
              <a:gd name="T28" fmla="*/ 347 w 534"/>
              <a:gd name="T29" fmla="*/ 530 h 1099"/>
              <a:gd name="T30" fmla="*/ 359 w 534"/>
              <a:gd name="T31" fmla="*/ 507 h 1099"/>
              <a:gd name="T32" fmla="*/ 371 w 534"/>
              <a:gd name="T33" fmla="*/ 488 h 1099"/>
              <a:gd name="T34" fmla="*/ 383 w 534"/>
              <a:gd name="T35" fmla="*/ 472 h 1099"/>
              <a:gd name="T36" fmla="*/ 395 w 534"/>
              <a:gd name="T37" fmla="*/ 457 h 1099"/>
              <a:gd name="T38" fmla="*/ 408 w 534"/>
              <a:gd name="T39" fmla="*/ 443 h 1099"/>
              <a:gd name="T40" fmla="*/ 421 w 534"/>
              <a:gd name="T41" fmla="*/ 430 h 1099"/>
              <a:gd name="T42" fmla="*/ 435 w 534"/>
              <a:gd name="T43" fmla="*/ 418 h 1099"/>
              <a:gd name="T44" fmla="*/ 450 w 534"/>
              <a:gd name="T45" fmla="*/ 406 h 1099"/>
              <a:gd name="T46" fmla="*/ 465 w 534"/>
              <a:gd name="T47" fmla="*/ 396 h 1099"/>
              <a:gd name="T48" fmla="*/ 504 w 534"/>
              <a:gd name="T49" fmla="*/ 454 h 1099"/>
              <a:gd name="T50" fmla="*/ 329 w 534"/>
              <a:gd name="T51" fmla="*/ 0 h 1099"/>
              <a:gd name="T52" fmla="*/ 344 w 534"/>
              <a:gd name="T53" fmla="*/ 89 h 1099"/>
              <a:gd name="T54" fmla="*/ 305 w 534"/>
              <a:gd name="T55" fmla="*/ 111 h 1099"/>
              <a:gd name="T56" fmla="*/ 267 w 534"/>
              <a:gd name="T57" fmla="*/ 136 h 1099"/>
              <a:gd name="T58" fmla="*/ 231 w 534"/>
              <a:gd name="T59" fmla="*/ 164 h 1099"/>
              <a:gd name="T60" fmla="*/ 197 w 534"/>
              <a:gd name="T61" fmla="*/ 196 h 1099"/>
              <a:gd name="T62" fmla="*/ 165 w 534"/>
              <a:gd name="T63" fmla="*/ 229 h 1099"/>
              <a:gd name="T64" fmla="*/ 134 w 534"/>
              <a:gd name="T65" fmla="*/ 265 h 1099"/>
              <a:gd name="T66" fmla="*/ 107 w 534"/>
              <a:gd name="T67" fmla="*/ 303 h 1099"/>
              <a:gd name="T68" fmla="*/ 80 w 534"/>
              <a:gd name="T69" fmla="*/ 347 h 1099"/>
              <a:gd name="T70" fmla="*/ 55 w 534"/>
              <a:gd name="T71" fmla="*/ 395 h 1099"/>
              <a:gd name="T72" fmla="*/ 35 w 534"/>
              <a:gd name="T73" fmla="*/ 445 h 1099"/>
              <a:gd name="T74" fmla="*/ 20 w 534"/>
              <a:gd name="T75" fmla="*/ 496 h 1099"/>
              <a:gd name="T76" fmla="*/ 9 w 534"/>
              <a:gd name="T77" fmla="*/ 547 h 1099"/>
              <a:gd name="T78" fmla="*/ 2 w 534"/>
              <a:gd name="T79" fmla="*/ 599 h 1099"/>
              <a:gd name="T80" fmla="*/ 0 w 534"/>
              <a:gd name="T81" fmla="*/ 651 h 1099"/>
              <a:gd name="T82" fmla="*/ 2 w 534"/>
              <a:gd name="T83" fmla="*/ 702 h 1099"/>
              <a:gd name="T84" fmla="*/ 9 w 534"/>
              <a:gd name="T85" fmla="*/ 754 h 1099"/>
              <a:gd name="T86" fmla="*/ 19 w 534"/>
              <a:gd name="T87" fmla="*/ 804 h 1099"/>
              <a:gd name="T88" fmla="*/ 34 w 534"/>
              <a:gd name="T89" fmla="*/ 854 h 1099"/>
              <a:gd name="T90" fmla="*/ 52 w 534"/>
              <a:gd name="T91" fmla="*/ 903 h 1099"/>
              <a:gd name="T92" fmla="*/ 75 w 534"/>
              <a:gd name="T93" fmla="*/ 950 h 1099"/>
              <a:gd name="T94" fmla="*/ 102 w 534"/>
              <a:gd name="T95" fmla="*/ 995 h 1099"/>
              <a:gd name="T96" fmla="*/ 132 w 534"/>
              <a:gd name="T97" fmla="*/ 1039 h 1099"/>
              <a:gd name="T98" fmla="*/ 166 w 534"/>
              <a:gd name="T99" fmla="*/ 1080 h 1099"/>
              <a:gd name="T100" fmla="*/ 230 w 534"/>
              <a:gd name="T101" fmla="*/ 935 h 1099"/>
              <a:gd name="T102" fmla="*/ 398 w 534"/>
              <a:gd name="T103" fmla="*/ 870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4" h="1099">
                <a:moveTo>
                  <a:pt x="398" y="870"/>
                </a:moveTo>
                <a:lnTo>
                  <a:pt x="390" y="860"/>
                </a:lnTo>
                <a:lnTo>
                  <a:pt x="382" y="850"/>
                </a:lnTo>
                <a:lnTo>
                  <a:pt x="375" y="840"/>
                </a:lnTo>
                <a:lnTo>
                  <a:pt x="368" y="830"/>
                </a:lnTo>
                <a:lnTo>
                  <a:pt x="361" y="819"/>
                </a:lnTo>
                <a:lnTo>
                  <a:pt x="355" y="808"/>
                </a:lnTo>
                <a:lnTo>
                  <a:pt x="349" y="797"/>
                </a:lnTo>
                <a:lnTo>
                  <a:pt x="344" y="786"/>
                </a:lnTo>
                <a:lnTo>
                  <a:pt x="340" y="774"/>
                </a:lnTo>
                <a:lnTo>
                  <a:pt x="335" y="763"/>
                </a:lnTo>
                <a:lnTo>
                  <a:pt x="332" y="751"/>
                </a:lnTo>
                <a:lnTo>
                  <a:pt x="328" y="739"/>
                </a:lnTo>
                <a:lnTo>
                  <a:pt x="326" y="727"/>
                </a:lnTo>
                <a:lnTo>
                  <a:pt x="323" y="715"/>
                </a:lnTo>
                <a:lnTo>
                  <a:pt x="321" y="702"/>
                </a:lnTo>
                <a:lnTo>
                  <a:pt x="320" y="690"/>
                </a:lnTo>
                <a:lnTo>
                  <a:pt x="319" y="678"/>
                </a:lnTo>
                <a:lnTo>
                  <a:pt x="319" y="665"/>
                </a:lnTo>
                <a:lnTo>
                  <a:pt x="319" y="653"/>
                </a:lnTo>
                <a:lnTo>
                  <a:pt x="319" y="640"/>
                </a:lnTo>
                <a:lnTo>
                  <a:pt x="320" y="628"/>
                </a:lnTo>
                <a:lnTo>
                  <a:pt x="322" y="616"/>
                </a:lnTo>
                <a:lnTo>
                  <a:pt x="324" y="603"/>
                </a:lnTo>
                <a:lnTo>
                  <a:pt x="327" y="591"/>
                </a:lnTo>
                <a:lnTo>
                  <a:pt x="330" y="579"/>
                </a:lnTo>
                <a:lnTo>
                  <a:pt x="333" y="566"/>
                </a:lnTo>
                <a:lnTo>
                  <a:pt x="337" y="554"/>
                </a:lnTo>
                <a:lnTo>
                  <a:pt x="342" y="542"/>
                </a:lnTo>
                <a:lnTo>
                  <a:pt x="347" y="530"/>
                </a:lnTo>
                <a:lnTo>
                  <a:pt x="353" y="519"/>
                </a:lnTo>
                <a:lnTo>
                  <a:pt x="359" y="507"/>
                </a:lnTo>
                <a:lnTo>
                  <a:pt x="366" y="496"/>
                </a:lnTo>
                <a:lnTo>
                  <a:pt x="371" y="488"/>
                </a:lnTo>
                <a:lnTo>
                  <a:pt x="377" y="480"/>
                </a:lnTo>
                <a:lnTo>
                  <a:pt x="383" y="472"/>
                </a:lnTo>
                <a:lnTo>
                  <a:pt x="389" y="464"/>
                </a:lnTo>
                <a:lnTo>
                  <a:pt x="395" y="457"/>
                </a:lnTo>
                <a:lnTo>
                  <a:pt x="401" y="450"/>
                </a:lnTo>
                <a:lnTo>
                  <a:pt x="408" y="443"/>
                </a:lnTo>
                <a:lnTo>
                  <a:pt x="414" y="436"/>
                </a:lnTo>
                <a:lnTo>
                  <a:pt x="421" y="430"/>
                </a:lnTo>
                <a:lnTo>
                  <a:pt x="428" y="424"/>
                </a:lnTo>
                <a:lnTo>
                  <a:pt x="435" y="418"/>
                </a:lnTo>
                <a:lnTo>
                  <a:pt x="443" y="412"/>
                </a:lnTo>
                <a:lnTo>
                  <a:pt x="450" y="406"/>
                </a:lnTo>
                <a:lnTo>
                  <a:pt x="458" y="401"/>
                </a:lnTo>
                <a:lnTo>
                  <a:pt x="465" y="396"/>
                </a:lnTo>
                <a:lnTo>
                  <a:pt x="473" y="391"/>
                </a:lnTo>
                <a:lnTo>
                  <a:pt x="504" y="454"/>
                </a:lnTo>
                <a:lnTo>
                  <a:pt x="534" y="185"/>
                </a:lnTo>
                <a:lnTo>
                  <a:pt x="329" y="0"/>
                </a:lnTo>
                <a:lnTo>
                  <a:pt x="363" y="79"/>
                </a:lnTo>
                <a:lnTo>
                  <a:pt x="344" y="89"/>
                </a:lnTo>
                <a:lnTo>
                  <a:pt x="324" y="99"/>
                </a:lnTo>
                <a:lnTo>
                  <a:pt x="305" y="111"/>
                </a:lnTo>
                <a:lnTo>
                  <a:pt x="286" y="123"/>
                </a:lnTo>
                <a:lnTo>
                  <a:pt x="267" y="136"/>
                </a:lnTo>
                <a:lnTo>
                  <a:pt x="249" y="150"/>
                </a:lnTo>
                <a:lnTo>
                  <a:pt x="231" y="164"/>
                </a:lnTo>
                <a:lnTo>
                  <a:pt x="214" y="180"/>
                </a:lnTo>
                <a:lnTo>
                  <a:pt x="197" y="196"/>
                </a:lnTo>
                <a:lnTo>
                  <a:pt x="180" y="212"/>
                </a:lnTo>
                <a:lnTo>
                  <a:pt x="165" y="229"/>
                </a:lnTo>
                <a:lnTo>
                  <a:pt x="149" y="247"/>
                </a:lnTo>
                <a:lnTo>
                  <a:pt x="134" y="265"/>
                </a:lnTo>
                <a:lnTo>
                  <a:pt x="120" y="284"/>
                </a:lnTo>
                <a:lnTo>
                  <a:pt x="107" y="303"/>
                </a:lnTo>
                <a:lnTo>
                  <a:pt x="94" y="323"/>
                </a:lnTo>
                <a:lnTo>
                  <a:pt x="80" y="347"/>
                </a:lnTo>
                <a:lnTo>
                  <a:pt x="67" y="371"/>
                </a:lnTo>
                <a:lnTo>
                  <a:pt x="55" y="395"/>
                </a:lnTo>
                <a:lnTo>
                  <a:pt x="45" y="420"/>
                </a:lnTo>
                <a:lnTo>
                  <a:pt x="35" y="445"/>
                </a:lnTo>
                <a:lnTo>
                  <a:pt x="27" y="470"/>
                </a:lnTo>
                <a:lnTo>
                  <a:pt x="20" y="496"/>
                </a:lnTo>
                <a:lnTo>
                  <a:pt x="14" y="521"/>
                </a:lnTo>
                <a:lnTo>
                  <a:pt x="9" y="547"/>
                </a:lnTo>
                <a:lnTo>
                  <a:pt x="5" y="573"/>
                </a:lnTo>
                <a:lnTo>
                  <a:pt x="2" y="599"/>
                </a:lnTo>
                <a:lnTo>
                  <a:pt x="1" y="625"/>
                </a:lnTo>
                <a:lnTo>
                  <a:pt x="0" y="651"/>
                </a:lnTo>
                <a:lnTo>
                  <a:pt x="1" y="676"/>
                </a:lnTo>
                <a:lnTo>
                  <a:pt x="2" y="702"/>
                </a:lnTo>
                <a:lnTo>
                  <a:pt x="5" y="728"/>
                </a:lnTo>
                <a:lnTo>
                  <a:pt x="9" y="754"/>
                </a:lnTo>
                <a:lnTo>
                  <a:pt x="13" y="779"/>
                </a:lnTo>
                <a:lnTo>
                  <a:pt x="19" y="804"/>
                </a:lnTo>
                <a:lnTo>
                  <a:pt x="26" y="830"/>
                </a:lnTo>
                <a:lnTo>
                  <a:pt x="34" y="854"/>
                </a:lnTo>
                <a:lnTo>
                  <a:pt x="43" y="879"/>
                </a:lnTo>
                <a:lnTo>
                  <a:pt x="52" y="903"/>
                </a:lnTo>
                <a:lnTo>
                  <a:pt x="63" y="927"/>
                </a:lnTo>
                <a:lnTo>
                  <a:pt x="75" y="950"/>
                </a:lnTo>
                <a:lnTo>
                  <a:pt x="88" y="973"/>
                </a:lnTo>
                <a:lnTo>
                  <a:pt x="102" y="995"/>
                </a:lnTo>
                <a:lnTo>
                  <a:pt x="116" y="1017"/>
                </a:lnTo>
                <a:lnTo>
                  <a:pt x="132" y="1039"/>
                </a:lnTo>
                <a:lnTo>
                  <a:pt x="149" y="1060"/>
                </a:lnTo>
                <a:lnTo>
                  <a:pt x="166" y="1080"/>
                </a:lnTo>
                <a:lnTo>
                  <a:pt x="185" y="1099"/>
                </a:lnTo>
                <a:lnTo>
                  <a:pt x="230" y="935"/>
                </a:lnTo>
                <a:lnTo>
                  <a:pt x="398" y="870"/>
                </a:lnTo>
                <a:lnTo>
                  <a:pt x="398" y="870"/>
                </a:lnTo>
                <a:close/>
              </a:path>
            </a:pathLst>
          </a:custGeom>
          <a:solidFill>
            <a:schemeClr val="accent1"/>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8" name="Freeform 5">
            <a:extLst>
              <a:ext uri="{FF2B5EF4-FFF2-40B4-BE49-F238E27FC236}">
                <a16:creationId xmlns:a16="http://schemas.microsoft.com/office/drawing/2014/main" id="{350BAEE5-3937-1D40-17B3-4F69FEAC3E76}"/>
              </a:ext>
            </a:extLst>
          </p:cNvPr>
          <p:cNvSpPr>
            <a:spLocks/>
          </p:cNvSpPr>
          <p:nvPr>
            <p:custDataLst>
              <p:tags r:id="rId3"/>
            </p:custDataLst>
          </p:nvPr>
        </p:nvSpPr>
        <p:spPr bwMode="auto">
          <a:xfrm rot="2315660">
            <a:off x="772085" y="3818256"/>
            <a:ext cx="3141971" cy="1565998"/>
          </a:xfrm>
          <a:custGeom>
            <a:avLst/>
            <a:gdLst>
              <a:gd name="T0" fmla="*/ 730 w 1037"/>
              <a:gd name="T1" fmla="*/ 11 h 526"/>
              <a:gd name="T2" fmla="*/ 719 w 1037"/>
              <a:gd name="T3" fmla="*/ 34 h 526"/>
              <a:gd name="T4" fmla="*/ 707 w 1037"/>
              <a:gd name="T5" fmla="*/ 56 h 526"/>
              <a:gd name="T6" fmla="*/ 693 w 1037"/>
              <a:gd name="T7" fmla="*/ 77 h 526"/>
              <a:gd name="T8" fmla="*/ 678 w 1037"/>
              <a:gd name="T9" fmla="*/ 96 h 526"/>
              <a:gd name="T10" fmla="*/ 661 w 1037"/>
              <a:gd name="T11" fmla="*/ 114 h 526"/>
              <a:gd name="T12" fmla="*/ 642 w 1037"/>
              <a:gd name="T13" fmla="*/ 131 h 526"/>
              <a:gd name="T14" fmla="*/ 623 w 1037"/>
              <a:gd name="T15" fmla="*/ 146 h 526"/>
              <a:gd name="T16" fmla="*/ 602 w 1037"/>
              <a:gd name="T17" fmla="*/ 160 h 526"/>
              <a:gd name="T18" fmla="*/ 580 w 1037"/>
              <a:gd name="T19" fmla="*/ 172 h 526"/>
              <a:gd name="T20" fmla="*/ 558 w 1037"/>
              <a:gd name="T21" fmla="*/ 182 h 526"/>
              <a:gd name="T22" fmla="*/ 534 w 1037"/>
              <a:gd name="T23" fmla="*/ 190 h 526"/>
              <a:gd name="T24" fmla="*/ 510 w 1037"/>
              <a:gd name="T25" fmla="*/ 197 h 526"/>
              <a:gd name="T26" fmla="*/ 484 w 1037"/>
              <a:gd name="T27" fmla="*/ 201 h 526"/>
              <a:gd name="T28" fmla="*/ 459 w 1037"/>
              <a:gd name="T29" fmla="*/ 204 h 526"/>
              <a:gd name="T30" fmla="*/ 432 w 1037"/>
              <a:gd name="T31" fmla="*/ 204 h 526"/>
              <a:gd name="T32" fmla="*/ 410 w 1037"/>
              <a:gd name="T33" fmla="*/ 203 h 526"/>
              <a:gd name="T34" fmla="*/ 391 w 1037"/>
              <a:gd name="T35" fmla="*/ 200 h 526"/>
              <a:gd name="T36" fmla="*/ 372 w 1037"/>
              <a:gd name="T37" fmla="*/ 196 h 526"/>
              <a:gd name="T38" fmla="*/ 353 w 1037"/>
              <a:gd name="T39" fmla="*/ 192 h 526"/>
              <a:gd name="T40" fmla="*/ 335 w 1037"/>
              <a:gd name="T41" fmla="*/ 186 h 526"/>
              <a:gd name="T42" fmla="*/ 318 w 1037"/>
              <a:gd name="T43" fmla="*/ 179 h 526"/>
              <a:gd name="T44" fmla="*/ 301 w 1037"/>
              <a:gd name="T45" fmla="*/ 171 h 526"/>
              <a:gd name="T46" fmla="*/ 285 w 1037"/>
              <a:gd name="T47" fmla="*/ 163 h 526"/>
              <a:gd name="T48" fmla="*/ 318 w 1037"/>
              <a:gd name="T49" fmla="*/ 101 h 526"/>
              <a:gd name="T50" fmla="*/ 0 w 1037"/>
              <a:gd name="T51" fmla="*/ 469 h 526"/>
              <a:gd name="T52" fmla="*/ 71 w 1037"/>
              <a:gd name="T53" fmla="*/ 414 h 526"/>
              <a:gd name="T54" fmla="*/ 108 w 1037"/>
              <a:gd name="T55" fmla="*/ 438 h 526"/>
              <a:gd name="T56" fmla="*/ 148 w 1037"/>
              <a:gd name="T57" fmla="*/ 460 h 526"/>
              <a:gd name="T58" fmla="*/ 190 w 1037"/>
              <a:gd name="T59" fmla="*/ 478 h 526"/>
              <a:gd name="T60" fmla="*/ 234 w 1037"/>
              <a:gd name="T61" fmla="*/ 494 h 526"/>
              <a:gd name="T62" fmla="*/ 279 w 1037"/>
              <a:gd name="T63" fmla="*/ 507 h 526"/>
              <a:gd name="T64" fmla="*/ 325 w 1037"/>
              <a:gd name="T65" fmla="*/ 516 h 526"/>
              <a:gd name="T66" fmla="*/ 371 w 1037"/>
              <a:gd name="T67" fmla="*/ 523 h 526"/>
              <a:gd name="T68" fmla="*/ 422 w 1037"/>
              <a:gd name="T69" fmla="*/ 526 h 526"/>
              <a:gd name="T70" fmla="*/ 476 w 1037"/>
              <a:gd name="T71" fmla="*/ 525 h 526"/>
              <a:gd name="T72" fmla="*/ 530 w 1037"/>
              <a:gd name="T73" fmla="*/ 519 h 526"/>
              <a:gd name="T74" fmla="*/ 582 w 1037"/>
              <a:gd name="T75" fmla="*/ 509 h 526"/>
              <a:gd name="T76" fmla="*/ 632 w 1037"/>
              <a:gd name="T77" fmla="*/ 495 h 526"/>
              <a:gd name="T78" fmla="*/ 681 w 1037"/>
              <a:gd name="T79" fmla="*/ 476 h 526"/>
              <a:gd name="T80" fmla="*/ 728 w 1037"/>
              <a:gd name="T81" fmla="*/ 454 h 526"/>
              <a:gd name="T82" fmla="*/ 773 w 1037"/>
              <a:gd name="T83" fmla="*/ 428 h 526"/>
              <a:gd name="T84" fmla="*/ 815 w 1037"/>
              <a:gd name="T85" fmla="*/ 398 h 526"/>
              <a:gd name="T86" fmla="*/ 855 w 1037"/>
              <a:gd name="T87" fmla="*/ 365 h 526"/>
              <a:gd name="T88" fmla="*/ 892 w 1037"/>
              <a:gd name="T89" fmla="*/ 329 h 526"/>
              <a:gd name="T90" fmla="*/ 926 w 1037"/>
              <a:gd name="T91" fmla="*/ 289 h 526"/>
              <a:gd name="T92" fmla="*/ 957 w 1037"/>
              <a:gd name="T93" fmla="*/ 247 h 526"/>
              <a:gd name="T94" fmla="*/ 985 w 1037"/>
              <a:gd name="T95" fmla="*/ 202 h 526"/>
              <a:gd name="T96" fmla="*/ 1009 w 1037"/>
              <a:gd name="T97" fmla="*/ 155 h 526"/>
              <a:gd name="T98" fmla="*/ 1029 w 1037"/>
              <a:gd name="T99" fmla="*/ 106 h 526"/>
              <a:gd name="T100" fmla="*/ 872 w 1037"/>
              <a:gd name="T101" fmla="*/ 117 h 526"/>
              <a:gd name="T102" fmla="*/ 735 w 1037"/>
              <a:gd name="T103"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7" h="526">
                <a:moveTo>
                  <a:pt x="735" y="0"/>
                </a:moveTo>
                <a:lnTo>
                  <a:pt x="730" y="11"/>
                </a:lnTo>
                <a:lnTo>
                  <a:pt x="725" y="23"/>
                </a:lnTo>
                <a:lnTo>
                  <a:pt x="719" y="34"/>
                </a:lnTo>
                <a:lnTo>
                  <a:pt x="713" y="45"/>
                </a:lnTo>
                <a:lnTo>
                  <a:pt x="707" y="56"/>
                </a:lnTo>
                <a:lnTo>
                  <a:pt x="700" y="67"/>
                </a:lnTo>
                <a:lnTo>
                  <a:pt x="693" y="77"/>
                </a:lnTo>
                <a:lnTo>
                  <a:pt x="686" y="87"/>
                </a:lnTo>
                <a:lnTo>
                  <a:pt x="678" y="96"/>
                </a:lnTo>
                <a:lnTo>
                  <a:pt x="669" y="105"/>
                </a:lnTo>
                <a:lnTo>
                  <a:pt x="661" y="114"/>
                </a:lnTo>
                <a:lnTo>
                  <a:pt x="652" y="123"/>
                </a:lnTo>
                <a:lnTo>
                  <a:pt x="642" y="131"/>
                </a:lnTo>
                <a:lnTo>
                  <a:pt x="633" y="139"/>
                </a:lnTo>
                <a:lnTo>
                  <a:pt x="623" y="146"/>
                </a:lnTo>
                <a:lnTo>
                  <a:pt x="613" y="153"/>
                </a:lnTo>
                <a:lnTo>
                  <a:pt x="602" y="160"/>
                </a:lnTo>
                <a:lnTo>
                  <a:pt x="591" y="166"/>
                </a:lnTo>
                <a:lnTo>
                  <a:pt x="580" y="172"/>
                </a:lnTo>
                <a:lnTo>
                  <a:pt x="569" y="177"/>
                </a:lnTo>
                <a:lnTo>
                  <a:pt x="558" y="182"/>
                </a:lnTo>
                <a:lnTo>
                  <a:pt x="546" y="186"/>
                </a:lnTo>
                <a:lnTo>
                  <a:pt x="534" y="190"/>
                </a:lnTo>
                <a:lnTo>
                  <a:pt x="522" y="194"/>
                </a:lnTo>
                <a:lnTo>
                  <a:pt x="510" y="197"/>
                </a:lnTo>
                <a:lnTo>
                  <a:pt x="497" y="199"/>
                </a:lnTo>
                <a:lnTo>
                  <a:pt x="484" y="201"/>
                </a:lnTo>
                <a:lnTo>
                  <a:pt x="472" y="203"/>
                </a:lnTo>
                <a:lnTo>
                  <a:pt x="459" y="204"/>
                </a:lnTo>
                <a:lnTo>
                  <a:pt x="446" y="204"/>
                </a:lnTo>
                <a:lnTo>
                  <a:pt x="432" y="204"/>
                </a:lnTo>
                <a:lnTo>
                  <a:pt x="419" y="203"/>
                </a:lnTo>
                <a:lnTo>
                  <a:pt x="410" y="203"/>
                </a:lnTo>
                <a:lnTo>
                  <a:pt x="400" y="201"/>
                </a:lnTo>
                <a:lnTo>
                  <a:pt x="391" y="200"/>
                </a:lnTo>
                <a:lnTo>
                  <a:pt x="381" y="198"/>
                </a:lnTo>
                <a:lnTo>
                  <a:pt x="372" y="196"/>
                </a:lnTo>
                <a:lnTo>
                  <a:pt x="363" y="194"/>
                </a:lnTo>
                <a:lnTo>
                  <a:pt x="353" y="192"/>
                </a:lnTo>
                <a:lnTo>
                  <a:pt x="344" y="189"/>
                </a:lnTo>
                <a:lnTo>
                  <a:pt x="335" y="186"/>
                </a:lnTo>
                <a:lnTo>
                  <a:pt x="327" y="182"/>
                </a:lnTo>
                <a:lnTo>
                  <a:pt x="318" y="179"/>
                </a:lnTo>
                <a:lnTo>
                  <a:pt x="309" y="175"/>
                </a:lnTo>
                <a:lnTo>
                  <a:pt x="301" y="171"/>
                </a:lnTo>
                <a:lnTo>
                  <a:pt x="293" y="167"/>
                </a:lnTo>
                <a:lnTo>
                  <a:pt x="285" y="163"/>
                </a:lnTo>
                <a:lnTo>
                  <a:pt x="277" y="158"/>
                </a:lnTo>
                <a:lnTo>
                  <a:pt x="318" y="101"/>
                </a:lnTo>
                <a:lnTo>
                  <a:pt x="67" y="201"/>
                </a:lnTo>
                <a:lnTo>
                  <a:pt x="0" y="469"/>
                </a:lnTo>
                <a:lnTo>
                  <a:pt x="53" y="401"/>
                </a:lnTo>
                <a:lnTo>
                  <a:pt x="71" y="414"/>
                </a:lnTo>
                <a:lnTo>
                  <a:pt x="89" y="427"/>
                </a:lnTo>
                <a:lnTo>
                  <a:pt x="108" y="438"/>
                </a:lnTo>
                <a:lnTo>
                  <a:pt x="128" y="449"/>
                </a:lnTo>
                <a:lnTo>
                  <a:pt x="148" y="460"/>
                </a:lnTo>
                <a:lnTo>
                  <a:pt x="169" y="469"/>
                </a:lnTo>
                <a:lnTo>
                  <a:pt x="190" y="478"/>
                </a:lnTo>
                <a:lnTo>
                  <a:pt x="212" y="486"/>
                </a:lnTo>
                <a:lnTo>
                  <a:pt x="234" y="494"/>
                </a:lnTo>
                <a:lnTo>
                  <a:pt x="256" y="501"/>
                </a:lnTo>
                <a:lnTo>
                  <a:pt x="279" y="507"/>
                </a:lnTo>
                <a:lnTo>
                  <a:pt x="302" y="512"/>
                </a:lnTo>
                <a:lnTo>
                  <a:pt x="325" y="516"/>
                </a:lnTo>
                <a:lnTo>
                  <a:pt x="348" y="520"/>
                </a:lnTo>
                <a:lnTo>
                  <a:pt x="371" y="523"/>
                </a:lnTo>
                <a:lnTo>
                  <a:pt x="395" y="525"/>
                </a:lnTo>
                <a:lnTo>
                  <a:pt x="422" y="526"/>
                </a:lnTo>
                <a:lnTo>
                  <a:pt x="449" y="526"/>
                </a:lnTo>
                <a:lnTo>
                  <a:pt x="476" y="525"/>
                </a:lnTo>
                <a:lnTo>
                  <a:pt x="503" y="523"/>
                </a:lnTo>
                <a:lnTo>
                  <a:pt x="530" y="519"/>
                </a:lnTo>
                <a:lnTo>
                  <a:pt x="556" y="515"/>
                </a:lnTo>
                <a:lnTo>
                  <a:pt x="582" y="509"/>
                </a:lnTo>
                <a:lnTo>
                  <a:pt x="607" y="503"/>
                </a:lnTo>
                <a:lnTo>
                  <a:pt x="632" y="495"/>
                </a:lnTo>
                <a:lnTo>
                  <a:pt x="657" y="486"/>
                </a:lnTo>
                <a:lnTo>
                  <a:pt x="681" y="476"/>
                </a:lnTo>
                <a:lnTo>
                  <a:pt x="705" y="466"/>
                </a:lnTo>
                <a:lnTo>
                  <a:pt x="728" y="454"/>
                </a:lnTo>
                <a:lnTo>
                  <a:pt x="750" y="441"/>
                </a:lnTo>
                <a:lnTo>
                  <a:pt x="773" y="428"/>
                </a:lnTo>
                <a:lnTo>
                  <a:pt x="794" y="413"/>
                </a:lnTo>
                <a:lnTo>
                  <a:pt x="815" y="398"/>
                </a:lnTo>
                <a:lnTo>
                  <a:pt x="835" y="382"/>
                </a:lnTo>
                <a:lnTo>
                  <a:pt x="855" y="365"/>
                </a:lnTo>
                <a:lnTo>
                  <a:pt x="874" y="347"/>
                </a:lnTo>
                <a:lnTo>
                  <a:pt x="892" y="329"/>
                </a:lnTo>
                <a:lnTo>
                  <a:pt x="909" y="309"/>
                </a:lnTo>
                <a:lnTo>
                  <a:pt x="926" y="289"/>
                </a:lnTo>
                <a:lnTo>
                  <a:pt x="942" y="269"/>
                </a:lnTo>
                <a:lnTo>
                  <a:pt x="957" y="247"/>
                </a:lnTo>
                <a:lnTo>
                  <a:pt x="971" y="225"/>
                </a:lnTo>
                <a:lnTo>
                  <a:pt x="985" y="202"/>
                </a:lnTo>
                <a:lnTo>
                  <a:pt x="997" y="179"/>
                </a:lnTo>
                <a:lnTo>
                  <a:pt x="1009" y="155"/>
                </a:lnTo>
                <a:lnTo>
                  <a:pt x="1019" y="131"/>
                </a:lnTo>
                <a:lnTo>
                  <a:pt x="1029" y="106"/>
                </a:lnTo>
                <a:lnTo>
                  <a:pt x="1037" y="80"/>
                </a:lnTo>
                <a:lnTo>
                  <a:pt x="872" y="117"/>
                </a:lnTo>
                <a:lnTo>
                  <a:pt x="735" y="0"/>
                </a:lnTo>
                <a:lnTo>
                  <a:pt x="735" y="0"/>
                </a:lnTo>
                <a:close/>
              </a:path>
            </a:pathLst>
          </a:custGeom>
          <a:solidFill>
            <a:srgbClr val="D9D9D9"/>
          </a:solidFill>
          <a:ln w="1143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9" name="Freeform 4">
            <a:extLst>
              <a:ext uri="{FF2B5EF4-FFF2-40B4-BE49-F238E27FC236}">
                <a16:creationId xmlns:a16="http://schemas.microsoft.com/office/drawing/2014/main" id="{9E67CCE5-650D-1160-EC4D-3AE674027959}"/>
              </a:ext>
            </a:extLst>
          </p:cNvPr>
          <p:cNvSpPr>
            <a:spLocks/>
          </p:cNvSpPr>
          <p:nvPr>
            <p:custDataLst>
              <p:tags r:id="rId4"/>
            </p:custDataLst>
          </p:nvPr>
        </p:nvSpPr>
        <p:spPr bwMode="auto">
          <a:xfrm rot="2243846">
            <a:off x="2524482" y="2329258"/>
            <a:ext cx="2698106" cy="2443754"/>
          </a:xfrm>
          <a:custGeom>
            <a:avLst/>
            <a:gdLst>
              <a:gd name="T0" fmla="*/ 125 w 893"/>
              <a:gd name="T1" fmla="*/ 323 h 826"/>
              <a:gd name="T2" fmla="*/ 151 w 893"/>
              <a:gd name="T3" fmla="*/ 323 h 826"/>
              <a:gd name="T4" fmla="*/ 177 w 893"/>
              <a:gd name="T5" fmla="*/ 324 h 826"/>
              <a:gd name="T6" fmla="*/ 204 w 893"/>
              <a:gd name="T7" fmla="*/ 327 h 826"/>
              <a:gd name="T8" fmla="*/ 230 w 893"/>
              <a:gd name="T9" fmla="*/ 331 h 826"/>
              <a:gd name="T10" fmla="*/ 257 w 893"/>
              <a:gd name="T11" fmla="*/ 338 h 826"/>
              <a:gd name="T12" fmla="*/ 282 w 893"/>
              <a:gd name="T13" fmla="*/ 346 h 826"/>
              <a:gd name="T14" fmla="*/ 308 w 893"/>
              <a:gd name="T15" fmla="*/ 356 h 826"/>
              <a:gd name="T16" fmla="*/ 332 w 893"/>
              <a:gd name="T17" fmla="*/ 367 h 826"/>
              <a:gd name="T18" fmla="*/ 355 w 893"/>
              <a:gd name="T19" fmla="*/ 380 h 826"/>
              <a:gd name="T20" fmla="*/ 377 w 893"/>
              <a:gd name="T21" fmla="*/ 395 h 826"/>
              <a:gd name="T22" fmla="*/ 398 w 893"/>
              <a:gd name="T23" fmla="*/ 412 h 826"/>
              <a:gd name="T24" fmla="*/ 417 w 893"/>
              <a:gd name="T25" fmla="*/ 430 h 826"/>
              <a:gd name="T26" fmla="*/ 434 w 893"/>
              <a:gd name="T27" fmla="*/ 450 h 826"/>
              <a:gd name="T28" fmla="*/ 449 w 893"/>
              <a:gd name="T29" fmla="*/ 472 h 826"/>
              <a:gd name="T30" fmla="*/ 461 w 893"/>
              <a:gd name="T31" fmla="*/ 495 h 826"/>
              <a:gd name="T32" fmla="*/ 473 w 893"/>
              <a:gd name="T33" fmla="*/ 526 h 826"/>
              <a:gd name="T34" fmla="*/ 484 w 893"/>
              <a:gd name="T35" fmla="*/ 563 h 826"/>
              <a:gd name="T36" fmla="*/ 488 w 893"/>
              <a:gd name="T37" fmla="*/ 581 h 826"/>
              <a:gd name="T38" fmla="*/ 491 w 893"/>
              <a:gd name="T39" fmla="*/ 600 h 826"/>
              <a:gd name="T40" fmla="*/ 492 w 893"/>
              <a:gd name="T41" fmla="*/ 619 h 826"/>
              <a:gd name="T42" fmla="*/ 493 w 893"/>
              <a:gd name="T43" fmla="*/ 637 h 826"/>
              <a:gd name="T44" fmla="*/ 492 w 893"/>
              <a:gd name="T45" fmla="*/ 655 h 826"/>
              <a:gd name="T46" fmla="*/ 623 w 893"/>
              <a:gd name="T47" fmla="*/ 826 h 826"/>
              <a:gd name="T48" fmla="*/ 809 w 893"/>
              <a:gd name="T49" fmla="*/ 750 h 826"/>
              <a:gd name="T50" fmla="*/ 816 w 893"/>
              <a:gd name="T51" fmla="*/ 706 h 826"/>
              <a:gd name="T52" fmla="*/ 819 w 893"/>
              <a:gd name="T53" fmla="*/ 662 h 826"/>
              <a:gd name="T54" fmla="*/ 819 w 893"/>
              <a:gd name="T55" fmla="*/ 616 h 826"/>
              <a:gd name="T56" fmla="*/ 816 w 893"/>
              <a:gd name="T57" fmla="*/ 570 h 826"/>
              <a:gd name="T58" fmla="*/ 809 w 893"/>
              <a:gd name="T59" fmla="*/ 524 h 826"/>
              <a:gd name="T60" fmla="*/ 799 w 893"/>
              <a:gd name="T61" fmla="*/ 478 h 826"/>
              <a:gd name="T62" fmla="*/ 786 w 893"/>
              <a:gd name="T63" fmla="*/ 433 h 826"/>
              <a:gd name="T64" fmla="*/ 770 w 893"/>
              <a:gd name="T65" fmla="*/ 389 h 826"/>
              <a:gd name="T66" fmla="*/ 758 w 893"/>
              <a:gd name="T67" fmla="*/ 362 h 826"/>
              <a:gd name="T68" fmla="*/ 745 w 893"/>
              <a:gd name="T69" fmla="*/ 337 h 826"/>
              <a:gd name="T70" fmla="*/ 731 w 893"/>
              <a:gd name="T71" fmla="*/ 311 h 826"/>
              <a:gd name="T72" fmla="*/ 716 w 893"/>
              <a:gd name="T73" fmla="*/ 287 h 826"/>
              <a:gd name="T74" fmla="*/ 700 w 893"/>
              <a:gd name="T75" fmla="*/ 263 h 826"/>
              <a:gd name="T76" fmla="*/ 682 w 893"/>
              <a:gd name="T77" fmla="*/ 241 h 826"/>
              <a:gd name="T78" fmla="*/ 645 w 893"/>
              <a:gd name="T79" fmla="*/ 198 h 826"/>
              <a:gd name="T80" fmla="*/ 604 w 893"/>
              <a:gd name="T81" fmla="*/ 159 h 826"/>
              <a:gd name="T82" fmla="*/ 560 w 893"/>
              <a:gd name="T83" fmla="*/ 123 h 826"/>
              <a:gd name="T84" fmla="*/ 512 w 893"/>
              <a:gd name="T85" fmla="*/ 92 h 826"/>
              <a:gd name="T86" fmla="*/ 462 w 893"/>
              <a:gd name="T87" fmla="*/ 65 h 826"/>
              <a:gd name="T88" fmla="*/ 410 w 893"/>
              <a:gd name="T89" fmla="*/ 42 h 826"/>
              <a:gd name="T90" fmla="*/ 355 w 893"/>
              <a:gd name="T91" fmla="*/ 24 h 826"/>
              <a:gd name="T92" fmla="*/ 299 w 893"/>
              <a:gd name="T93" fmla="*/ 11 h 826"/>
              <a:gd name="T94" fmla="*/ 241 w 893"/>
              <a:gd name="T95" fmla="*/ 3 h 826"/>
              <a:gd name="T96" fmla="*/ 211 w 893"/>
              <a:gd name="T97" fmla="*/ 1 h 826"/>
              <a:gd name="T98" fmla="*/ 181 w 893"/>
              <a:gd name="T99" fmla="*/ 0 h 826"/>
              <a:gd name="T100" fmla="*/ 151 w 893"/>
              <a:gd name="T101" fmla="*/ 0 h 826"/>
              <a:gd name="T102" fmla="*/ 121 w 893"/>
              <a:gd name="T103" fmla="*/ 2 h 826"/>
              <a:gd name="T104" fmla="*/ 91 w 893"/>
              <a:gd name="T105" fmla="*/ 6 h 826"/>
              <a:gd name="T106" fmla="*/ 61 w 893"/>
              <a:gd name="T107" fmla="*/ 10 h 826"/>
              <a:gd name="T108" fmla="*/ 30 w 893"/>
              <a:gd name="T109" fmla="*/ 17 h 826"/>
              <a:gd name="T110" fmla="*/ 0 w 893"/>
              <a:gd name="T111" fmla="*/ 24 h 826"/>
              <a:gd name="T112" fmla="*/ 112 w 893"/>
              <a:gd name="T113" fmla="*/ 3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3" h="826">
                <a:moveTo>
                  <a:pt x="112" y="325"/>
                </a:moveTo>
                <a:lnTo>
                  <a:pt x="125" y="323"/>
                </a:lnTo>
                <a:lnTo>
                  <a:pt x="138" y="323"/>
                </a:lnTo>
                <a:lnTo>
                  <a:pt x="151" y="323"/>
                </a:lnTo>
                <a:lnTo>
                  <a:pt x="164" y="323"/>
                </a:lnTo>
                <a:lnTo>
                  <a:pt x="177" y="324"/>
                </a:lnTo>
                <a:lnTo>
                  <a:pt x="190" y="325"/>
                </a:lnTo>
                <a:lnTo>
                  <a:pt x="204" y="327"/>
                </a:lnTo>
                <a:lnTo>
                  <a:pt x="217" y="329"/>
                </a:lnTo>
                <a:lnTo>
                  <a:pt x="230" y="331"/>
                </a:lnTo>
                <a:lnTo>
                  <a:pt x="243" y="334"/>
                </a:lnTo>
                <a:lnTo>
                  <a:pt x="257" y="338"/>
                </a:lnTo>
                <a:lnTo>
                  <a:pt x="270" y="341"/>
                </a:lnTo>
                <a:lnTo>
                  <a:pt x="282" y="346"/>
                </a:lnTo>
                <a:lnTo>
                  <a:pt x="295" y="350"/>
                </a:lnTo>
                <a:lnTo>
                  <a:pt x="308" y="356"/>
                </a:lnTo>
                <a:lnTo>
                  <a:pt x="320" y="361"/>
                </a:lnTo>
                <a:lnTo>
                  <a:pt x="332" y="367"/>
                </a:lnTo>
                <a:lnTo>
                  <a:pt x="344" y="374"/>
                </a:lnTo>
                <a:lnTo>
                  <a:pt x="355" y="380"/>
                </a:lnTo>
                <a:lnTo>
                  <a:pt x="367" y="388"/>
                </a:lnTo>
                <a:lnTo>
                  <a:pt x="377" y="395"/>
                </a:lnTo>
                <a:lnTo>
                  <a:pt x="388" y="404"/>
                </a:lnTo>
                <a:lnTo>
                  <a:pt x="398" y="412"/>
                </a:lnTo>
                <a:lnTo>
                  <a:pt x="408" y="421"/>
                </a:lnTo>
                <a:lnTo>
                  <a:pt x="417" y="430"/>
                </a:lnTo>
                <a:lnTo>
                  <a:pt x="426" y="440"/>
                </a:lnTo>
                <a:lnTo>
                  <a:pt x="434" y="450"/>
                </a:lnTo>
                <a:lnTo>
                  <a:pt x="442" y="461"/>
                </a:lnTo>
                <a:lnTo>
                  <a:pt x="449" y="472"/>
                </a:lnTo>
                <a:lnTo>
                  <a:pt x="455" y="484"/>
                </a:lnTo>
                <a:lnTo>
                  <a:pt x="461" y="495"/>
                </a:lnTo>
                <a:lnTo>
                  <a:pt x="467" y="508"/>
                </a:lnTo>
                <a:lnTo>
                  <a:pt x="473" y="526"/>
                </a:lnTo>
                <a:lnTo>
                  <a:pt x="479" y="544"/>
                </a:lnTo>
                <a:lnTo>
                  <a:pt x="484" y="563"/>
                </a:lnTo>
                <a:lnTo>
                  <a:pt x="486" y="572"/>
                </a:lnTo>
                <a:lnTo>
                  <a:pt x="488" y="581"/>
                </a:lnTo>
                <a:lnTo>
                  <a:pt x="490" y="591"/>
                </a:lnTo>
                <a:lnTo>
                  <a:pt x="491" y="600"/>
                </a:lnTo>
                <a:lnTo>
                  <a:pt x="492" y="609"/>
                </a:lnTo>
                <a:lnTo>
                  <a:pt x="492" y="619"/>
                </a:lnTo>
                <a:lnTo>
                  <a:pt x="493" y="628"/>
                </a:lnTo>
                <a:lnTo>
                  <a:pt x="493" y="637"/>
                </a:lnTo>
                <a:lnTo>
                  <a:pt x="492" y="646"/>
                </a:lnTo>
                <a:lnTo>
                  <a:pt x="492" y="655"/>
                </a:lnTo>
                <a:lnTo>
                  <a:pt x="422" y="644"/>
                </a:lnTo>
                <a:lnTo>
                  <a:pt x="623" y="826"/>
                </a:lnTo>
                <a:lnTo>
                  <a:pt x="893" y="768"/>
                </a:lnTo>
                <a:lnTo>
                  <a:pt x="809" y="750"/>
                </a:lnTo>
                <a:lnTo>
                  <a:pt x="813" y="728"/>
                </a:lnTo>
                <a:lnTo>
                  <a:pt x="816" y="706"/>
                </a:lnTo>
                <a:lnTo>
                  <a:pt x="818" y="684"/>
                </a:lnTo>
                <a:lnTo>
                  <a:pt x="819" y="662"/>
                </a:lnTo>
                <a:lnTo>
                  <a:pt x="819" y="639"/>
                </a:lnTo>
                <a:lnTo>
                  <a:pt x="819" y="616"/>
                </a:lnTo>
                <a:lnTo>
                  <a:pt x="818" y="593"/>
                </a:lnTo>
                <a:lnTo>
                  <a:pt x="816" y="570"/>
                </a:lnTo>
                <a:lnTo>
                  <a:pt x="813" y="547"/>
                </a:lnTo>
                <a:lnTo>
                  <a:pt x="809" y="524"/>
                </a:lnTo>
                <a:lnTo>
                  <a:pt x="804" y="501"/>
                </a:lnTo>
                <a:lnTo>
                  <a:pt x="799" y="478"/>
                </a:lnTo>
                <a:lnTo>
                  <a:pt x="793" y="455"/>
                </a:lnTo>
                <a:lnTo>
                  <a:pt x="786" y="433"/>
                </a:lnTo>
                <a:lnTo>
                  <a:pt x="778" y="411"/>
                </a:lnTo>
                <a:lnTo>
                  <a:pt x="770" y="389"/>
                </a:lnTo>
                <a:lnTo>
                  <a:pt x="764" y="376"/>
                </a:lnTo>
                <a:lnTo>
                  <a:pt x="758" y="362"/>
                </a:lnTo>
                <a:lnTo>
                  <a:pt x="752" y="349"/>
                </a:lnTo>
                <a:lnTo>
                  <a:pt x="745" y="337"/>
                </a:lnTo>
                <a:lnTo>
                  <a:pt x="738" y="324"/>
                </a:lnTo>
                <a:lnTo>
                  <a:pt x="731" y="311"/>
                </a:lnTo>
                <a:lnTo>
                  <a:pt x="723" y="299"/>
                </a:lnTo>
                <a:lnTo>
                  <a:pt x="716" y="287"/>
                </a:lnTo>
                <a:lnTo>
                  <a:pt x="708" y="275"/>
                </a:lnTo>
                <a:lnTo>
                  <a:pt x="700" y="263"/>
                </a:lnTo>
                <a:lnTo>
                  <a:pt x="691" y="252"/>
                </a:lnTo>
                <a:lnTo>
                  <a:pt x="682" y="241"/>
                </a:lnTo>
                <a:lnTo>
                  <a:pt x="664" y="219"/>
                </a:lnTo>
                <a:lnTo>
                  <a:pt x="645" y="198"/>
                </a:lnTo>
                <a:lnTo>
                  <a:pt x="625" y="178"/>
                </a:lnTo>
                <a:lnTo>
                  <a:pt x="604" y="159"/>
                </a:lnTo>
                <a:lnTo>
                  <a:pt x="582" y="141"/>
                </a:lnTo>
                <a:lnTo>
                  <a:pt x="560" y="123"/>
                </a:lnTo>
                <a:lnTo>
                  <a:pt x="536" y="107"/>
                </a:lnTo>
                <a:lnTo>
                  <a:pt x="512" y="92"/>
                </a:lnTo>
                <a:lnTo>
                  <a:pt x="488" y="78"/>
                </a:lnTo>
                <a:lnTo>
                  <a:pt x="462" y="65"/>
                </a:lnTo>
                <a:lnTo>
                  <a:pt x="436" y="53"/>
                </a:lnTo>
                <a:lnTo>
                  <a:pt x="410" y="42"/>
                </a:lnTo>
                <a:lnTo>
                  <a:pt x="383" y="33"/>
                </a:lnTo>
                <a:lnTo>
                  <a:pt x="355" y="24"/>
                </a:lnTo>
                <a:lnTo>
                  <a:pt x="327" y="17"/>
                </a:lnTo>
                <a:lnTo>
                  <a:pt x="299" y="11"/>
                </a:lnTo>
                <a:lnTo>
                  <a:pt x="270" y="6"/>
                </a:lnTo>
                <a:lnTo>
                  <a:pt x="241" y="3"/>
                </a:lnTo>
                <a:lnTo>
                  <a:pt x="226" y="2"/>
                </a:lnTo>
                <a:lnTo>
                  <a:pt x="211" y="1"/>
                </a:lnTo>
                <a:lnTo>
                  <a:pt x="196" y="0"/>
                </a:lnTo>
                <a:lnTo>
                  <a:pt x="181" y="0"/>
                </a:lnTo>
                <a:lnTo>
                  <a:pt x="166" y="0"/>
                </a:lnTo>
                <a:lnTo>
                  <a:pt x="151" y="0"/>
                </a:lnTo>
                <a:lnTo>
                  <a:pt x="136" y="1"/>
                </a:lnTo>
                <a:lnTo>
                  <a:pt x="121" y="2"/>
                </a:lnTo>
                <a:lnTo>
                  <a:pt x="106" y="4"/>
                </a:lnTo>
                <a:lnTo>
                  <a:pt x="91" y="6"/>
                </a:lnTo>
                <a:lnTo>
                  <a:pt x="76" y="8"/>
                </a:lnTo>
                <a:lnTo>
                  <a:pt x="61" y="10"/>
                </a:lnTo>
                <a:lnTo>
                  <a:pt x="45" y="13"/>
                </a:lnTo>
                <a:lnTo>
                  <a:pt x="30" y="17"/>
                </a:lnTo>
                <a:lnTo>
                  <a:pt x="15" y="20"/>
                </a:lnTo>
                <a:lnTo>
                  <a:pt x="0" y="24"/>
                </a:lnTo>
                <a:lnTo>
                  <a:pt x="135" y="154"/>
                </a:lnTo>
                <a:lnTo>
                  <a:pt x="112" y="325"/>
                </a:lnTo>
                <a:lnTo>
                  <a:pt x="112" y="325"/>
                </a:lnTo>
                <a:close/>
              </a:path>
            </a:pathLst>
          </a:custGeom>
          <a:solidFill>
            <a:srgbClr val="D9D9D9"/>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0" name="TextBox 9">
            <a:extLst>
              <a:ext uri="{FF2B5EF4-FFF2-40B4-BE49-F238E27FC236}">
                <a16:creationId xmlns:a16="http://schemas.microsoft.com/office/drawing/2014/main" id="{538842C0-0259-A53C-EBE2-3DE8DDCE9BBD}"/>
              </a:ext>
            </a:extLst>
          </p:cNvPr>
          <p:cNvSpPr txBox="1"/>
          <p:nvPr/>
        </p:nvSpPr>
        <p:spPr>
          <a:xfrm rot="20514076">
            <a:off x="1382546" y="2041395"/>
            <a:ext cx="2956273" cy="2978880"/>
          </a:xfrm>
          <a:prstGeom prst="rect">
            <a:avLst/>
          </a:prstGeom>
          <a:noFill/>
          <a:ln w="28575">
            <a:noFill/>
          </a:ln>
        </p:spPr>
        <p:txBody>
          <a:bodyPr wrap="square" lIns="109728" tIns="54864" rIns="109728" bIns="54864" rtlCol="0">
            <a:prstTxWarp prst="textArchUp">
              <a:avLst>
                <a:gd name="adj" fmla="val 5811603"/>
              </a:avLst>
            </a:prstTxWarp>
            <a:spAutoFit/>
          </a:bodyPr>
          <a:lstStyle/>
          <a:p>
            <a:r>
              <a:rPr lang="en-US" sz="2000" b="1" dirty="0">
                <a:solidFill>
                  <a:schemeClr val="bg1"/>
                </a:solidFill>
              </a:rPr>
              <a:t>IDENTIFY LEADERS           INVEST &amp; DEVELOP             FORECAST VACANCIES       </a:t>
            </a:r>
          </a:p>
        </p:txBody>
      </p:sp>
    </p:spTree>
    <p:extLst>
      <p:ext uri="{BB962C8B-B14F-4D97-AF65-F5344CB8AC3E}">
        <p14:creationId xmlns:p14="http://schemas.microsoft.com/office/powerpoint/2010/main" val="38870680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F6C58DE-BB7F-E44E-2E76-3A4FC7C4BDB4}"/>
              </a:ext>
            </a:extLst>
          </p:cNvPr>
          <p:cNvGraphicFramePr>
            <a:graphicFrameLocks noChangeAspect="1"/>
          </p:cNvGraphicFramePr>
          <p:nvPr>
            <p:custDataLst>
              <p:tags r:id="rId1"/>
            </p:custDataLst>
            <p:extLst>
              <p:ext uri="{D42A27DB-BD31-4B8C-83A1-F6EECF244321}">
                <p14:modId xmlns:p14="http://schemas.microsoft.com/office/powerpoint/2010/main" val="314241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3F6C58DE-BB7F-E44E-2E76-3A4FC7C4BD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038F8CBC-F1A8-A8A6-AAAB-0244D5A911A0}"/>
              </a:ext>
            </a:extLst>
          </p:cNvPr>
          <p:cNvSpPr/>
          <p:nvPr/>
        </p:nvSpPr>
        <p:spPr>
          <a:xfrm>
            <a:off x="355600" y="1276350"/>
            <a:ext cx="4397375" cy="489585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sz="1600" dirty="0">
              <a:solidFill>
                <a:schemeClr val="tx1"/>
              </a:solidFill>
            </a:endParaRPr>
          </a:p>
          <a:p>
            <a:r>
              <a:rPr lang="en-US" sz="1600" dirty="0">
                <a:solidFill>
                  <a:schemeClr val="tx1"/>
                </a:solidFill>
              </a:rPr>
              <a:t>Take an inventory of your current and past efforts to develop leaders. </a:t>
            </a:r>
          </a:p>
          <a:p>
            <a:endParaRPr lang="en-US" sz="1600" dirty="0">
              <a:solidFill>
                <a:schemeClr val="tx1"/>
              </a:solidFill>
            </a:endParaRPr>
          </a:p>
          <a:p>
            <a:r>
              <a:rPr lang="en-US" sz="1600" dirty="0">
                <a:solidFill>
                  <a:schemeClr val="tx1"/>
                </a:solidFill>
              </a:rPr>
              <a:t>For many districts this includes:</a:t>
            </a:r>
          </a:p>
          <a:p>
            <a:pPr marL="202500" lvl="1" indent="-202500">
              <a:buClr>
                <a:schemeClr val="accent1"/>
              </a:buClr>
              <a:buSzPct val="100000"/>
              <a:buFont typeface="Arial" panose="020B0604020202020204" pitchFamily="34" charset="0"/>
              <a:buChar char="●"/>
            </a:pPr>
            <a:r>
              <a:rPr lang="en-US" sz="1600" i="1" dirty="0">
                <a:solidFill>
                  <a:schemeClr val="tx1"/>
                </a:solidFill>
              </a:rPr>
              <a:t>Cohort-based programs</a:t>
            </a:r>
          </a:p>
          <a:p>
            <a:pPr marL="202500" lvl="1" indent="-202500">
              <a:buClr>
                <a:schemeClr val="accent1"/>
              </a:buClr>
              <a:buSzPct val="100000"/>
              <a:buFont typeface="Arial" panose="020B0604020202020204" pitchFamily="34" charset="0"/>
              <a:buChar char="●"/>
            </a:pPr>
            <a:r>
              <a:rPr lang="en-US" sz="1600" i="1" dirty="0">
                <a:solidFill>
                  <a:schemeClr val="tx1"/>
                </a:solidFill>
              </a:rPr>
              <a:t>Leadership Seminar series</a:t>
            </a:r>
          </a:p>
          <a:p>
            <a:pPr marL="202500" lvl="1" indent="-202500">
              <a:buClr>
                <a:schemeClr val="accent1"/>
              </a:buClr>
              <a:buSzPct val="100000"/>
              <a:buFont typeface="Arial" panose="020B0604020202020204" pitchFamily="34" charset="0"/>
              <a:buChar char="●"/>
            </a:pPr>
            <a:r>
              <a:rPr lang="en-US" sz="1600" i="1" dirty="0">
                <a:solidFill>
                  <a:schemeClr val="tx1"/>
                </a:solidFill>
              </a:rPr>
              <a:t>Mentoring</a:t>
            </a:r>
          </a:p>
          <a:p>
            <a:pPr marL="202500" lvl="1" indent="-202500">
              <a:buClr>
                <a:schemeClr val="accent1"/>
              </a:buClr>
              <a:buSzPct val="100000"/>
              <a:buFont typeface="Arial" panose="020B0604020202020204" pitchFamily="34" charset="0"/>
              <a:buChar char="●"/>
            </a:pPr>
            <a:r>
              <a:rPr lang="en-US" sz="1600" i="1" dirty="0">
                <a:solidFill>
                  <a:schemeClr val="tx1"/>
                </a:solidFill>
              </a:rPr>
              <a:t>Formal coaching</a:t>
            </a:r>
          </a:p>
          <a:p>
            <a:pPr marL="202500" lvl="1" indent="-202500">
              <a:buClr>
                <a:schemeClr val="accent1"/>
              </a:buClr>
              <a:buSzPct val="100000"/>
              <a:buFont typeface="Arial" panose="020B0604020202020204" pitchFamily="34" charset="0"/>
              <a:buChar char="●"/>
            </a:pPr>
            <a:r>
              <a:rPr lang="en-US" sz="1600" i="1" dirty="0">
                <a:solidFill>
                  <a:schemeClr val="tx1"/>
                </a:solidFill>
              </a:rPr>
              <a:t>Leading summer school</a:t>
            </a:r>
          </a:p>
          <a:p>
            <a:pPr marL="202500" lvl="1" indent="-202500">
              <a:buClr>
                <a:schemeClr val="accent1"/>
              </a:buClr>
              <a:buSzPct val="100000"/>
              <a:buFont typeface="Arial" panose="020B0604020202020204" pitchFamily="34" charset="0"/>
              <a:buChar char="●"/>
            </a:pPr>
            <a:r>
              <a:rPr lang="en-US" sz="1600" i="1" dirty="0">
                <a:solidFill>
                  <a:schemeClr val="tx1"/>
                </a:solidFill>
              </a:rPr>
              <a:t>Graduate programs</a:t>
            </a:r>
          </a:p>
          <a:p>
            <a:pPr marL="202500" lvl="1" indent="-202500">
              <a:buClr>
                <a:schemeClr val="accent1"/>
              </a:buClr>
              <a:buSzPct val="100000"/>
              <a:buFont typeface="Arial" panose="020B0604020202020204" pitchFamily="34" charset="0"/>
              <a:buChar char="●"/>
            </a:pPr>
            <a:r>
              <a:rPr lang="en-US" sz="1600" i="1" dirty="0">
                <a:solidFill>
                  <a:schemeClr val="tx1"/>
                </a:solidFill>
              </a:rPr>
              <a:t>Certification programs</a:t>
            </a:r>
          </a:p>
          <a:p>
            <a:pPr marL="202500" lvl="1" indent="-202500">
              <a:buClr>
                <a:schemeClr val="accent1"/>
              </a:buClr>
              <a:buSzPct val="100000"/>
              <a:buFont typeface="Arial" panose="020B0604020202020204" pitchFamily="34" charset="0"/>
              <a:buChar char="●"/>
            </a:pPr>
            <a:r>
              <a:rPr lang="en-US" sz="1600" i="1" dirty="0">
                <a:solidFill>
                  <a:schemeClr val="tx1"/>
                </a:solidFill>
              </a:rPr>
              <a:t>External workshops</a:t>
            </a:r>
          </a:p>
          <a:p>
            <a:pPr marL="202500" lvl="1" indent="-202500">
              <a:buClr>
                <a:schemeClr val="accent1"/>
              </a:buClr>
              <a:buSzPct val="100000"/>
              <a:buFont typeface="Arial" panose="020B0604020202020204" pitchFamily="34" charset="0"/>
              <a:buChar char="●"/>
            </a:pPr>
            <a:endParaRPr lang="en-US" sz="1600" i="1" dirty="0">
              <a:solidFill>
                <a:schemeClr val="tx1"/>
              </a:solidFill>
            </a:endParaRPr>
          </a:p>
          <a:p>
            <a:r>
              <a:rPr lang="en-US" sz="1600" dirty="0">
                <a:solidFill>
                  <a:schemeClr val="tx1"/>
                </a:solidFill>
              </a:rPr>
              <a:t>To the right is a framework we use to think about what leadership development might look like. What have you/could you offer within each of these buckets?</a:t>
            </a:r>
          </a:p>
        </p:txBody>
      </p:sp>
      <p:sp>
        <p:nvSpPr>
          <p:cNvPr id="4" name="Title 3">
            <a:extLst>
              <a:ext uri="{FF2B5EF4-FFF2-40B4-BE49-F238E27FC236}">
                <a16:creationId xmlns:a16="http://schemas.microsoft.com/office/drawing/2014/main" id="{800EF27D-14F0-11B1-85B9-368AB8DC2C7B}"/>
              </a:ext>
            </a:extLst>
          </p:cNvPr>
          <p:cNvSpPr>
            <a:spLocks noGrp="1"/>
          </p:cNvSpPr>
          <p:nvPr>
            <p:ph type="title"/>
          </p:nvPr>
        </p:nvSpPr>
        <p:spPr/>
        <p:txBody>
          <a:bodyPr vert="horz"/>
          <a:lstStyle/>
          <a:p>
            <a:r>
              <a:rPr lang="en-US" dirty="0">
                <a:solidFill>
                  <a:schemeClr val="accent1"/>
                </a:solidFill>
              </a:rPr>
              <a:t>Invest and Develop question 1 | </a:t>
            </a:r>
            <a:r>
              <a:rPr lang="en-US" sz="2800" dirty="0"/>
              <a:t>What are the leadership development opportunities we currently provide in our district?</a:t>
            </a:r>
            <a:endParaRPr lang="en-US" dirty="0"/>
          </a:p>
        </p:txBody>
      </p:sp>
      <p:sp>
        <p:nvSpPr>
          <p:cNvPr id="12" name="TextBox 11">
            <a:extLst>
              <a:ext uri="{FF2B5EF4-FFF2-40B4-BE49-F238E27FC236}">
                <a16:creationId xmlns:a16="http://schemas.microsoft.com/office/drawing/2014/main" id="{D3745909-6829-82A1-8AA0-F5BB3963E01E}"/>
              </a:ext>
            </a:extLst>
          </p:cNvPr>
          <p:cNvSpPr txBox="1"/>
          <p:nvPr/>
        </p:nvSpPr>
        <p:spPr>
          <a:xfrm>
            <a:off x="4946650" y="1359162"/>
            <a:ext cx="6889750" cy="5170646"/>
          </a:xfrm>
          <a:prstGeom prst="rect">
            <a:avLst/>
          </a:prstGeom>
          <a:noFill/>
        </p:spPr>
        <p:txBody>
          <a:bodyPr wrap="square" rtlCol="0">
            <a:spAutoFit/>
          </a:bodyPr>
          <a:lstStyle/>
          <a:p>
            <a:r>
              <a:rPr lang="en-US" i="1" dirty="0"/>
              <a:t>We believe effective leadership development consists of:</a:t>
            </a:r>
          </a:p>
          <a:p>
            <a:endParaRPr lang="en-US" dirty="0">
              <a:solidFill>
                <a:schemeClr val="accent1"/>
              </a:solidFill>
            </a:endParaRPr>
          </a:p>
          <a:p>
            <a:r>
              <a:rPr lang="en-US" dirty="0">
                <a:solidFill>
                  <a:schemeClr val="accent1"/>
                </a:solidFill>
              </a:rPr>
              <a:t>70% Experiential Learning</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On-the-job learning project</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Cross-functional assignment</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Job rotation</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School-wide project lead</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Strategic initiative lead</a:t>
            </a:r>
          </a:p>
          <a:p>
            <a:pPr marL="202500" lvl="1" indent="-202500">
              <a:buClr>
                <a:schemeClr val="accent1"/>
              </a:buClr>
              <a:buSzPct val="100000"/>
              <a:buFont typeface="Arial" panose="020B0604020202020204" pitchFamily="34" charset="0"/>
              <a:buChar char="●"/>
              <a:defRPr/>
            </a:pPr>
            <a:r>
              <a:rPr lang="en-US" sz="1200" dirty="0">
                <a:solidFill>
                  <a:srgbClr val="000000"/>
                </a:solidFill>
                <a:latin typeface="Gill Sans Nova"/>
              </a:rPr>
              <a:t>Residency</a:t>
            </a:r>
            <a:r>
              <a:rPr lang="en-US" sz="1200" dirty="0"/>
              <a:t> </a:t>
            </a:r>
          </a:p>
          <a:p>
            <a:endParaRPr lang="en-US" dirty="0">
              <a:solidFill>
                <a:schemeClr val="tx2"/>
              </a:solidFill>
            </a:endParaRPr>
          </a:p>
          <a:p>
            <a:r>
              <a:rPr lang="en-US" dirty="0">
                <a:solidFill>
                  <a:schemeClr val="tx2"/>
                </a:solidFill>
              </a:rPr>
              <a:t>20% Social Learning</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Coaching</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Mentoring</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Exposure to high-performing individuals</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Peer networking</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Consultancy</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Job shadowing</a:t>
            </a:r>
          </a:p>
          <a:p>
            <a:endParaRPr lang="en-US" dirty="0">
              <a:solidFill>
                <a:srgbClr val="99A3C3"/>
              </a:solidFill>
            </a:endParaRPr>
          </a:p>
          <a:p>
            <a:r>
              <a:rPr lang="en-US" dirty="0">
                <a:solidFill>
                  <a:srgbClr val="99A3C3"/>
                </a:solidFill>
              </a:rPr>
              <a:t>10% Formal Learning</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Training sessions</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Webinars</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Articles/books</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Workshops</a:t>
            </a:r>
          </a:p>
          <a:p>
            <a:pPr marL="202500" lvl="1" indent="-202500">
              <a:buClr>
                <a:schemeClr val="accent1"/>
              </a:buClr>
              <a:buSzPct val="10000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Gill Sans Nova"/>
                <a:ea typeface="+mn-ea"/>
                <a:cs typeface="+mn-cs"/>
              </a:rPr>
              <a:t>Certification/degree programs</a:t>
            </a:r>
          </a:p>
        </p:txBody>
      </p:sp>
      <p:pic>
        <p:nvPicPr>
          <p:cNvPr id="10" name="Picture 9">
            <a:extLst>
              <a:ext uri="{FF2B5EF4-FFF2-40B4-BE49-F238E27FC236}">
                <a16:creationId xmlns:a16="http://schemas.microsoft.com/office/drawing/2014/main" id="{78F7478B-E54E-3C93-ECDE-27764FE77D4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664378" y="1895475"/>
            <a:ext cx="4660972" cy="4660972"/>
          </a:xfrm>
          <a:prstGeom prst="rect">
            <a:avLst/>
          </a:prstGeom>
        </p:spPr>
      </p:pic>
    </p:spTree>
    <p:extLst>
      <p:ext uri="{BB962C8B-B14F-4D97-AF65-F5344CB8AC3E}">
        <p14:creationId xmlns:p14="http://schemas.microsoft.com/office/powerpoint/2010/main" val="10577016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F6C58DE-BB7F-E44E-2E76-3A4FC7C4BDB4}"/>
              </a:ext>
            </a:extLst>
          </p:cNvPr>
          <p:cNvGraphicFramePr>
            <a:graphicFrameLocks noChangeAspect="1"/>
          </p:cNvGraphicFramePr>
          <p:nvPr>
            <p:custDataLst>
              <p:tags r:id="rId1"/>
            </p:custDataLst>
            <p:extLst>
              <p:ext uri="{D42A27DB-BD31-4B8C-83A1-F6EECF244321}">
                <p14:modId xmlns:p14="http://schemas.microsoft.com/office/powerpoint/2010/main" val="3041700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3F6C58DE-BB7F-E44E-2E76-3A4FC7C4BD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00EF27D-14F0-11B1-85B9-368AB8DC2C7B}"/>
              </a:ext>
            </a:extLst>
          </p:cNvPr>
          <p:cNvSpPr>
            <a:spLocks noGrp="1"/>
          </p:cNvSpPr>
          <p:nvPr>
            <p:ph type="title"/>
          </p:nvPr>
        </p:nvSpPr>
        <p:spPr/>
        <p:txBody>
          <a:bodyPr vert="horz"/>
          <a:lstStyle/>
          <a:p>
            <a:r>
              <a:rPr lang="en-US" dirty="0">
                <a:solidFill>
                  <a:schemeClr val="accent1"/>
                </a:solidFill>
              </a:rPr>
              <a:t>Invest and Develop question 2 | </a:t>
            </a:r>
            <a:r>
              <a:rPr lang="en-US" sz="2800" dirty="0"/>
              <a:t>What needs is each opportunity </a:t>
            </a:r>
            <a:r>
              <a:rPr lang="en-US" sz="2800" b="1" dirty="0"/>
              <a:t>best positioned to address</a:t>
            </a:r>
            <a:r>
              <a:rPr lang="en-US" sz="2800" dirty="0"/>
              <a:t>?</a:t>
            </a:r>
            <a:br>
              <a:rPr lang="en-US" sz="2800" dirty="0"/>
            </a:br>
            <a:endParaRPr lang="en-US" dirty="0"/>
          </a:p>
        </p:txBody>
      </p:sp>
      <p:sp>
        <p:nvSpPr>
          <p:cNvPr id="22" name="TextBox 21">
            <a:extLst>
              <a:ext uri="{FF2B5EF4-FFF2-40B4-BE49-F238E27FC236}">
                <a16:creationId xmlns:a16="http://schemas.microsoft.com/office/drawing/2014/main" id="{0DF406D1-5B09-E528-C839-A62A0E60A73D}"/>
              </a:ext>
            </a:extLst>
          </p:cNvPr>
          <p:cNvSpPr txBox="1"/>
          <p:nvPr/>
        </p:nvSpPr>
        <p:spPr>
          <a:xfrm>
            <a:off x="355600" y="1295194"/>
            <a:ext cx="5740400" cy="5232202"/>
          </a:xfrm>
          <a:prstGeom prst="rect">
            <a:avLst/>
          </a:prstGeom>
          <a:noFill/>
        </p:spPr>
        <p:txBody>
          <a:bodyPr wrap="square">
            <a:spAutoFit/>
          </a:bodyPr>
          <a:lstStyle/>
          <a:p>
            <a:pPr marR="0" lvl="0" algn="l" rtl="0">
              <a:spcBef>
                <a:spcPts val="0"/>
              </a:spcBef>
              <a:spcAft>
                <a:spcPts val="0"/>
              </a:spcAft>
              <a:buNone/>
            </a:pPr>
            <a:r>
              <a:rPr lang="en-US" sz="1400" dirty="0">
                <a:ea typeface="Gill Sans"/>
                <a:cs typeface="Gill Sans"/>
                <a:sym typeface="Gill Sans"/>
              </a:rPr>
              <a:t>Moving from being an assistant principal to a principal requires many shifts in skill, time allocation, and what one values as part of one’s professional identity. Different programs and delivery methods may address some shifts better than others. Below are some key shifts APs must make:</a:t>
            </a:r>
          </a:p>
          <a:p>
            <a:pPr marR="0" lvl="0" algn="l" rtl="0">
              <a:spcBef>
                <a:spcPts val="0"/>
              </a:spcBef>
              <a:spcAft>
                <a:spcPts val="0"/>
              </a:spcAft>
              <a:buNone/>
            </a:pPr>
            <a:endParaRPr lang="en-US" sz="1200" dirty="0">
              <a:ea typeface="Gill Sans"/>
              <a:cs typeface="Gill Sans"/>
              <a:sym typeface="Gill Sans"/>
            </a:endParaRPr>
          </a:p>
          <a:p>
            <a:pPr marR="0" lvl="0" algn="l" rtl="0">
              <a:spcBef>
                <a:spcPts val="0"/>
              </a:spcBef>
              <a:spcAft>
                <a:spcPts val="0"/>
              </a:spcAft>
              <a:buNone/>
            </a:pPr>
            <a:r>
              <a:rPr lang="en-US" sz="1200" b="1" dirty="0">
                <a:ea typeface="Gill Sans"/>
                <a:cs typeface="Gill Sans"/>
                <a:sym typeface="Gill Sans"/>
              </a:rPr>
              <a:t>Personal Leadership</a:t>
            </a:r>
          </a:p>
          <a:p>
            <a:pPr marL="135000" lvl="1" indent="-135000">
              <a:buClr>
                <a:schemeClr val="accent1"/>
              </a:buClr>
              <a:buSzPct val="100000"/>
              <a:buFont typeface="Arial" panose="020B0604020202020204" pitchFamily="34" charset="0"/>
              <a:buChar char="●"/>
            </a:pPr>
            <a:r>
              <a:rPr lang="en-US" sz="1200" dirty="0">
                <a:ea typeface="Gill Sans"/>
                <a:cs typeface="Gill Sans"/>
                <a:sym typeface="Gill Sans"/>
              </a:rPr>
              <a:t>SKILL: Maturity</a:t>
            </a:r>
          </a:p>
          <a:p>
            <a:pPr marL="135000" lvl="1" indent="-135000">
              <a:buClr>
                <a:schemeClr val="accent1"/>
              </a:buClr>
              <a:buSzPct val="100000"/>
              <a:buFont typeface="Arial" panose="020B0604020202020204" pitchFamily="34" charset="0"/>
              <a:buChar char="●"/>
            </a:pPr>
            <a:r>
              <a:rPr lang="en-US" sz="1200" dirty="0">
                <a:ea typeface="Gill Sans"/>
                <a:cs typeface="Gill Sans"/>
                <a:sym typeface="Gill Sans"/>
              </a:rPr>
              <a:t>TIME: Protect time to think, reflect, and analyze</a:t>
            </a:r>
          </a:p>
          <a:p>
            <a:pPr marL="135000" lvl="1" indent="-135000">
              <a:buClr>
                <a:schemeClr val="accent1"/>
              </a:buClr>
              <a:buSzPct val="100000"/>
              <a:buFont typeface="Arial" panose="020B0604020202020204" pitchFamily="34" charset="0"/>
              <a:buChar char="●"/>
            </a:pPr>
            <a:r>
              <a:rPr lang="en-US" sz="1200" dirty="0">
                <a:ea typeface="Gill Sans"/>
                <a:cs typeface="Gill Sans"/>
                <a:sym typeface="Gill Sans"/>
              </a:rPr>
              <a:t>VALUES: Trust, accept advice, and receive feedback from team members</a:t>
            </a:r>
          </a:p>
          <a:p>
            <a:pPr marR="0" lvl="0" algn="l" rtl="0">
              <a:spcBef>
                <a:spcPts val="0"/>
              </a:spcBef>
              <a:spcAft>
                <a:spcPts val="0"/>
              </a:spcAft>
              <a:buNone/>
            </a:pPr>
            <a:endParaRPr lang="en-US" sz="1200" b="1" dirty="0">
              <a:ea typeface="Gill Sans"/>
              <a:cs typeface="Gill Sans"/>
              <a:sym typeface="Gill Sans"/>
            </a:endParaRPr>
          </a:p>
          <a:p>
            <a:pPr marR="0" lvl="0" algn="l" rtl="0">
              <a:spcBef>
                <a:spcPts val="0"/>
              </a:spcBef>
              <a:spcAft>
                <a:spcPts val="0"/>
              </a:spcAft>
              <a:buNone/>
            </a:pPr>
            <a:r>
              <a:rPr lang="en-US" sz="1200" b="1" dirty="0">
                <a:ea typeface="Gill Sans"/>
                <a:cs typeface="Gill Sans"/>
                <a:sym typeface="Gill Sans"/>
              </a:rPr>
              <a:t>Vision and Strategy</a:t>
            </a:r>
          </a:p>
          <a:p>
            <a:pPr marL="135000" lvl="1" indent="-135000">
              <a:buClr>
                <a:schemeClr val="accent1"/>
              </a:buClr>
              <a:buSzPct val="100000"/>
              <a:buFont typeface="Arial" panose="020B0604020202020204" pitchFamily="34" charset="0"/>
              <a:buChar char="●"/>
            </a:pPr>
            <a:r>
              <a:rPr lang="en-US" sz="1200" dirty="0">
                <a:ea typeface="Gill Sans"/>
                <a:cs typeface="Gill Sans"/>
                <a:sym typeface="Gill Sans"/>
              </a:rPr>
              <a:t>SKILL: Taking a broad, long-term perspective</a:t>
            </a:r>
          </a:p>
          <a:p>
            <a:pPr marL="135000" lvl="1" indent="-135000">
              <a:buClr>
                <a:schemeClr val="accent1"/>
              </a:buClr>
              <a:buSzPct val="100000"/>
              <a:buFont typeface="Arial" panose="020B0604020202020204" pitchFamily="34" charset="0"/>
              <a:buChar char="●"/>
            </a:pPr>
            <a:r>
              <a:rPr lang="en-US" sz="1200" dirty="0">
                <a:ea typeface="Gill Sans"/>
                <a:cs typeface="Gill Sans"/>
                <a:sym typeface="Gill Sans"/>
              </a:rPr>
              <a:t>SKILL: Collaboratively setting strategy and goals for the school, balancing future goals (3–5-year plan) with present needs and pressures</a:t>
            </a:r>
          </a:p>
          <a:p>
            <a:pPr marL="135000" lvl="1" indent="-135000">
              <a:buClr>
                <a:schemeClr val="accent1"/>
              </a:buClr>
              <a:buSzPct val="100000"/>
              <a:buFont typeface="Arial" panose="020B0604020202020204" pitchFamily="34" charset="0"/>
              <a:buChar char="●"/>
            </a:pPr>
            <a:r>
              <a:rPr lang="en-US" sz="1200" dirty="0">
                <a:ea typeface="Gill Sans"/>
                <a:cs typeface="Gill Sans"/>
                <a:sym typeface="Gill Sans"/>
              </a:rPr>
              <a:t>TIME: Think time for strategy &amp; long-term planning </a:t>
            </a:r>
          </a:p>
          <a:p>
            <a:pPr marL="135000" lvl="1" indent="-135000">
              <a:buClr>
                <a:schemeClr val="accent1"/>
              </a:buClr>
              <a:buSzPct val="100000"/>
              <a:buFont typeface="Arial" panose="020B0604020202020204" pitchFamily="34" charset="0"/>
              <a:buChar char="●"/>
            </a:pPr>
            <a:r>
              <a:rPr lang="en-US" sz="1200" dirty="0">
                <a:ea typeface="Gill Sans"/>
                <a:cs typeface="Gill Sans"/>
                <a:sym typeface="Gill Sans"/>
              </a:rPr>
              <a:t>VALUES: Success of the entire organization</a:t>
            </a:r>
          </a:p>
          <a:p>
            <a:endParaRPr lang="en-US" sz="1200" b="1" dirty="0"/>
          </a:p>
          <a:p>
            <a:r>
              <a:rPr lang="en-US" sz="1200" b="1" dirty="0"/>
              <a:t>Professional Presence</a:t>
            </a:r>
          </a:p>
          <a:p>
            <a:pPr marL="135000" lvl="1" indent="-135000">
              <a:buClr>
                <a:schemeClr val="accent1"/>
              </a:buClr>
              <a:buSzPct val="100000"/>
              <a:buFont typeface="Arial" panose="020B0604020202020204" pitchFamily="34" charset="0"/>
              <a:buChar char="●"/>
            </a:pPr>
            <a:r>
              <a:rPr lang="en-US" sz="1200" dirty="0">
                <a:ea typeface="Gill Sans"/>
                <a:cs typeface="Gill Sans"/>
                <a:sym typeface="Gill Sans"/>
              </a:rPr>
              <a:t>SKILL: Humility, listening, and sensing</a:t>
            </a:r>
          </a:p>
          <a:p>
            <a:pPr marL="135000" lvl="1" indent="-135000">
              <a:buClr>
                <a:schemeClr val="accent1"/>
              </a:buClr>
              <a:buSzPct val="100000"/>
              <a:buFont typeface="Arial" panose="020B0604020202020204" pitchFamily="34" charset="0"/>
              <a:buChar char="●"/>
            </a:pPr>
            <a:r>
              <a:rPr lang="en-US" sz="1200" dirty="0">
                <a:ea typeface="Gill Sans"/>
                <a:cs typeface="Gill Sans"/>
                <a:sym typeface="Gill Sans"/>
              </a:rPr>
              <a:t>SKILL: Communicate clearly and effectively with all stakeholders (through multiple layers of an organization)</a:t>
            </a:r>
          </a:p>
          <a:p>
            <a:pPr marL="135000" lvl="1" indent="-135000">
              <a:buClr>
                <a:schemeClr val="accent1"/>
              </a:buClr>
              <a:buSzPct val="100000"/>
              <a:buFont typeface="Arial" panose="020B0604020202020204" pitchFamily="34" charset="0"/>
              <a:buChar char="●"/>
            </a:pPr>
            <a:r>
              <a:rPr lang="en-US" sz="1200" dirty="0">
                <a:ea typeface="Gill Sans"/>
                <a:cs typeface="Gill Sans"/>
                <a:sym typeface="Gill Sans"/>
              </a:rPr>
              <a:t>VALUES: Accept attention and scrutiny that comes with being highly visible</a:t>
            </a:r>
          </a:p>
          <a:p>
            <a:pPr marR="0" lvl="0" algn="l" rtl="0">
              <a:spcBef>
                <a:spcPts val="0"/>
              </a:spcBef>
              <a:spcAft>
                <a:spcPts val="0"/>
              </a:spcAft>
              <a:buNone/>
            </a:pPr>
            <a:endParaRPr lang="en-US" sz="1200" b="1" dirty="0">
              <a:ea typeface="Gill Sans"/>
              <a:cs typeface="Gill Sans"/>
              <a:sym typeface="Gill Sans"/>
            </a:endParaRPr>
          </a:p>
          <a:p>
            <a:pPr marR="0" lvl="0" algn="l" rtl="0">
              <a:spcBef>
                <a:spcPts val="0"/>
              </a:spcBef>
              <a:spcAft>
                <a:spcPts val="0"/>
              </a:spcAft>
              <a:buNone/>
            </a:pPr>
            <a:r>
              <a:rPr lang="en-US" sz="1200" b="1" dirty="0">
                <a:ea typeface="Gill Sans"/>
                <a:cs typeface="Gill Sans"/>
                <a:sym typeface="Gill Sans"/>
              </a:rPr>
              <a:t>Team and Culture</a:t>
            </a:r>
          </a:p>
          <a:p>
            <a:pPr marL="135000" lvl="1" indent="-135000">
              <a:buClr>
                <a:schemeClr val="accent1"/>
              </a:buClr>
              <a:buSzPct val="100000"/>
              <a:buFont typeface="Arial" panose="020B0604020202020204" pitchFamily="34" charset="0"/>
              <a:buChar char="●"/>
            </a:pPr>
            <a:r>
              <a:rPr lang="en-US" sz="1200" dirty="0">
                <a:ea typeface="Gill Sans"/>
                <a:cs typeface="Gill Sans"/>
                <a:sym typeface="Gill Sans"/>
              </a:rPr>
              <a:t>SKILL: Build a strong team and ensure members work well together</a:t>
            </a:r>
          </a:p>
          <a:p>
            <a:pPr marL="135000" lvl="1" indent="-135000">
              <a:buClr>
                <a:schemeClr val="accent1"/>
              </a:buClr>
              <a:buSzPct val="100000"/>
              <a:buFont typeface="Arial" panose="020B0604020202020204" pitchFamily="34" charset="0"/>
              <a:buChar char="●"/>
            </a:pPr>
            <a:r>
              <a:rPr lang="en-US" sz="1200" dirty="0">
                <a:ea typeface="Gill Sans"/>
                <a:cs typeface="Gill Sans"/>
                <a:sym typeface="Gill Sans"/>
              </a:rPr>
              <a:t>VALUES: Organizational culture</a:t>
            </a:r>
          </a:p>
          <a:p>
            <a:pPr marR="0" lvl="0" algn="l" rtl="0">
              <a:spcBef>
                <a:spcPts val="0"/>
              </a:spcBef>
              <a:spcAft>
                <a:spcPts val="0"/>
              </a:spcAft>
              <a:buNone/>
            </a:pPr>
            <a:endParaRPr lang="en-US" sz="1400" dirty="0">
              <a:ea typeface="Gill Sans"/>
              <a:cs typeface="Gill Sans"/>
              <a:sym typeface="Gill Sans"/>
            </a:endParaRPr>
          </a:p>
        </p:txBody>
      </p:sp>
      <p:graphicFrame>
        <p:nvGraphicFramePr>
          <p:cNvPr id="24" name="Table 23">
            <a:extLst>
              <a:ext uri="{FF2B5EF4-FFF2-40B4-BE49-F238E27FC236}">
                <a16:creationId xmlns:a16="http://schemas.microsoft.com/office/drawing/2014/main" id="{77447F94-2EBE-92B4-4382-071DE4FF0D69}"/>
              </a:ext>
            </a:extLst>
          </p:cNvPr>
          <p:cNvGraphicFramePr>
            <a:graphicFrameLocks noGrp="1"/>
          </p:cNvGraphicFramePr>
          <p:nvPr>
            <p:extLst>
              <p:ext uri="{D42A27DB-BD31-4B8C-83A1-F6EECF244321}">
                <p14:modId xmlns:p14="http://schemas.microsoft.com/office/powerpoint/2010/main" val="3980511522"/>
              </p:ext>
            </p:extLst>
          </p:nvPr>
        </p:nvGraphicFramePr>
        <p:xfrm>
          <a:off x="6372224" y="2189329"/>
          <a:ext cx="5343525" cy="3749090"/>
        </p:xfrm>
        <a:graphic>
          <a:graphicData uri="http://schemas.openxmlformats.org/drawingml/2006/table">
            <a:tbl>
              <a:tblPr firstRow="1" bandRow="1">
                <a:noFill/>
              </a:tblPr>
              <a:tblGrid>
                <a:gridCol w="1181741">
                  <a:extLst>
                    <a:ext uri="{9D8B030D-6E8A-4147-A177-3AD203B41FA5}">
                      <a16:colId xmlns:a16="http://schemas.microsoft.com/office/drawing/2014/main" val="3834393789"/>
                    </a:ext>
                  </a:extLst>
                </a:gridCol>
                <a:gridCol w="4161784">
                  <a:extLst>
                    <a:ext uri="{9D8B030D-6E8A-4147-A177-3AD203B41FA5}">
                      <a16:colId xmlns:a16="http://schemas.microsoft.com/office/drawing/2014/main" val="815680045"/>
                    </a:ext>
                  </a:extLst>
                </a:gridCol>
              </a:tblGrid>
              <a:tr h="387806">
                <a:tc>
                  <a:txBody>
                    <a:bodyPr/>
                    <a:lstStyle/>
                    <a:p>
                      <a:pPr marL="0" marR="0" lvl="0" indent="0" algn="ctr" rtl="0">
                        <a:spcBef>
                          <a:spcPts val="0"/>
                        </a:spcBef>
                        <a:spcAft>
                          <a:spcPts val="0"/>
                        </a:spcAft>
                        <a:buNone/>
                      </a:pPr>
                      <a:r>
                        <a:rPr lang="en-US" sz="1200" b="1">
                          <a:solidFill>
                            <a:schemeClr val="lt1"/>
                          </a:solidFill>
                        </a:rPr>
                        <a:t>IF OUR…</a:t>
                      </a:r>
                      <a:endParaRPr sz="1200"/>
                    </a:p>
                  </a:txBody>
                  <a:tcPr marL="91450" marR="91450" marT="45725" marB="45725" anchor="ctr">
                    <a:solidFill>
                      <a:schemeClr val="dk2"/>
                    </a:solidFill>
                  </a:tcPr>
                </a:tc>
                <a:tc>
                  <a:txBody>
                    <a:bodyPr/>
                    <a:lstStyle/>
                    <a:p>
                      <a:pPr marL="0" marR="0" lvl="0" indent="0" algn="l" rtl="0">
                        <a:spcBef>
                          <a:spcPts val="0"/>
                        </a:spcBef>
                        <a:spcAft>
                          <a:spcPts val="0"/>
                        </a:spcAft>
                        <a:buNone/>
                      </a:pPr>
                      <a:r>
                        <a:rPr lang="en-US" sz="1200" b="1" i="1" dirty="0">
                          <a:solidFill>
                            <a:schemeClr val="dk2"/>
                          </a:solidFill>
                        </a:rPr>
                        <a:t>Who is/are your target population/s?</a:t>
                      </a:r>
                      <a:endParaRPr sz="1200" dirty="0"/>
                    </a:p>
                    <a:p>
                      <a:pPr marL="0" marR="0" lvl="0" indent="0" algn="l" rtl="0">
                        <a:spcBef>
                          <a:spcPts val="0"/>
                        </a:spcBef>
                        <a:spcAft>
                          <a:spcPts val="0"/>
                        </a:spcAft>
                        <a:buNone/>
                      </a:pPr>
                      <a:r>
                        <a:rPr lang="en-US" sz="1200" b="0" i="1" dirty="0">
                          <a:solidFill>
                            <a:schemeClr val="dk1"/>
                          </a:solidFill>
                        </a:rPr>
                        <a:t>(e.g., Assistant Principals, Academic Deans, Teacher Leaders)</a:t>
                      </a:r>
                      <a:endParaRPr sz="1200" dirty="0"/>
                    </a:p>
                  </a:txBody>
                  <a:tcPr marL="91450" marR="91450" marT="45725" marB="45725">
                    <a:solidFill>
                      <a:srgbClr val="AFCFFF"/>
                    </a:solidFill>
                  </a:tcPr>
                </a:tc>
                <a:extLst>
                  <a:ext uri="{0D108BD9-81ED-4DB2-BD59-A6C34878D82A}">
                    <a16:rowId xmlns:a16="http://schemas.microsoft.com/office/drawing/2014/main" val="453578370"/>
                  </a:ext>
                </a:extLst>
              </a:tr>
              <a:tr h="560938">
                <a:tc>
                  <a:txBody>
                    <a:bodyPr/>
                    <a:lstStyle/>
                    <a:p>
                      <a:pPr marL="0" marR="0" lvl="0" indent="0" algn="ctr" rtl="0">
                        <a:spcBef>
                          <a:spcPts val="0"/>
                        </a:spcBef>
                        <a:spcAft>
                          <a:spcPts val="0"/>
                        </a:spcAft>
                        <a:buNone/>
                      </a:pPr>
                      <a:r>
                        <a:rPr lang="en-US" sz="1200" b="1">
                          <a:solidFill>
                            <a:schemeClr val="lt1"/>
                          </a:solidFill>
                        </a:rPr>
                        <a:t>…WHO ARE…</a:t>
                      </a:r>
                      <a:endParaRPr sz="1200"/>
                    </a:p>
                  </a:txBody>
                  <a:tcPr marL="91450" marR="91450" marT="45725" marB="45725" anchor="ctr">
                    <a:solidFill>
                      <a:schemeClr val="dk2"/>
                    </a:solidFill>
                  </a:tcPr>
                </a:tc>
                <a:tc>
                  <a:txBody>
                    <a:bodyPr/>
                    <a:lstStyle/>
                    <a:p>
                      <a:pPr marL="0" marR="0" lvl="0" indent="0" algn="l" rtl="0">
                        <a:spcBef>
                          <a:spcPts val="0"/>
                        </a:spcBef>
                        <a:spcAft>
                          <a:spcPts val="0"/>
                        </a:spcAft>
                        <a:buNone/>
                      </a:pPr>
                      <a:r>
                        <a:rPr lang="en-US" sz="1200" b="1" i="1" dirty="0">
                          <a:solidFill>
                            <a:schemeClr val="dk2"/>
                          </a:solidFill>
                        </a:rPr>
                        <a:t>What needs to be true of applicants coming into the program?</a:t>
                      </a:r>
                      <a:endParaRPr sz="1200" dirty="0"/>
                    </a:p>
                    <a:p>
                      <a:pPr marL="0" marR="0" lvl="0" indent="0" algn="l" rtl="0">
                        <a:spcBef>
                          <a:spcPts val="0"/>
                        </a:spcBef>
                        <a:spcAft>
                          <a:spcPts val="0"/>
                        </a:spcAft>
                        <a:buNone/>
                      </a:pPr>
                      <a:r>
                        <a:rPr lang="en-US" sz="1200" i="1" dirty="0">
                          <a:solidFill>
                            <a:schemeClr val="dk1"/>
                          </a:solidFill>
                        </a:rPr>
                        <a:t>(e.g., ready for the principalship, 1-year out from ready, 2-3 years out from ready, high potential, aspiring)</a:t>
                      </a:r>
                      <a:endParaRPr sz="1200" dirty="0"/>
                    </a:p>
                  </a:txBody>
                  <a:tcPr marL="91450" marR="91450" marT="45725" marB="45725">
                    <a:solidFill>
                      <a:srgbClr val="AFCFFF"/>
                    </a:solidFill>
                  </a:tcPr>
                </a:tc>
                <a:extLst>
                  <a:ext uri="{0D108BD9-81ED-4DB2-BD59-A6C34878D82A}">
                    <a16:rowId xmlns:a16="http://schemas.microsoft.com/office/drawing/2014/main" val="3368616403"/>
                  </a:ext>
                </a:extLst>
              </a:tr>
              <a:tr h="597357">
                <a:tc>
                  <a:txBody>
                    <a:bodyPr/>
                    <a:lstStyle/>
                    <a:p>
                      <a:pPr marL="0" marR="0" lvl="0" indent="0" algn="ctr" rtl="0">
                        <a:spcBef>
                          <a:spcPts val="0"/>
                        </a:spcBef>
                        <a:spcAft>
                          <a:spcPts val="0"/>
                        </a:spcAft>
                        <a:buNone/>
                      </a:pPr>
                      <a:r>
                        <a:rPr lang="en-US" sz="1200" b="1">
                          <a:solidFill>
                            <a:schemeClr val="lt1"/>
                          </a:solidFill>
                        </a:rPr>
                        <a:t>…RECEIVE…</a:t>
                      </a:r>
                      <a:endParaRPr sz="1200"/>
                    </a:p>
                  </a:txBody>
                  <a:tcPr marL="91450" marR="91450" marT="45725" marB="45725" anchor="ctr">
                    <a:solidFill>
                      <a:schemeClr val="dk2"/>
                    </a:solidFill>
                  </a:tcPr>
                </a:tc>
                <a:tc>
                  <a:txBody>
                    <a:bodyPr/>
                    <a:lstStyle/>
                    <a:p>
                      <a:pPr marL="0" marR="0" lvl="0" indent="0" algn="l" rtl="0">
                        <a:spcBef>
                          <a:spcPts val="0"/>
                        </a:spcBef>
                        <a:spcAft>
                          <a:spcPts val="0"/>
                        </a:spcAft>
                        <a:buNone/>
                      </a:pPr>
                      <a:r>
                        <a:rPr lang="en-US" sz="1200" b="1" i="1" dirty="0">
                          <a:solidFill>
                            <a:schemeClr val="dk2"/>
                          </a:solidFill>
                          <a:latin typeface="Gill Sans"/>
                          <a:ea typeface="Gill Sans"/>
                          <a:cs typeface="Gill Sans"/>
                          <a:sym typeface="Gill Sans"/>
                        </a:rPr>
                        <a:t>What are you committing to provide to participants?</a:t>
                      </a:r>
                      <a:endParaRPr sz="1200" dirty="0"/>
                    </a:p>
                    <a:p>
                      <a:pPr marL="0" marR="0" lvl="0" indent="0" algn="l" rtl="0">
                        <a:spcBef>
                          <a:spcPts val="0"/>
                        </a:spcBef>
                        <a:spcAft>
                          <a:spcPts val="0"/>
                        </a:spcAft>
                        <a:buNone/>
                      </a:pPr>
                      <a:r>
                        <a:rPr lang="en-US" sz="1200" i="1" dirty="0">
                          <a:solidFill>
                            <a:schemeClr val="dk1"/>
                          </a:solidFill>
                        </a:rPr>
                        <a:t>(e.g., training to develop key skills and mindsets, opportunities to step into greater leadership,  perspective into the reality of the principal role)</a:t>
                      </a:r>
                      <a:endParaRPr sz="1200" dirty="0"/>
                    </a:p>
                  </a:txBody>
                  <a:tcPr marL="91450" marR="91450" marT="45725" marB="45725">
                    <a:solidFill>
                      <a:srgbClr val="AFCFFF"/>
                    </a:solidFill>
                  </a:tcPr>
                </a:tc>
                <a:extLst>
                  <a:ext uri="{0D108BD9-81ED-4DB2-BD59-A6C34878D82A}">
                    <a16:rowId xmlns:a16="http://schemas.microsoft.com/office/drawing/2014/main" val="1075187207"/>
                  </a:ext>
                </a:extLst>
              </a:tr>
              <a:tr h="575488">
                <a:tc>
                  <a:txBody>
                    <a:bodyPr/>
                    <a:lstStyle/>
                    <a:p>
                      <a:pPr marL="0" marR="0" lvl="0" indent="0" algn="ctr" rtl="0">
                        <a:spcBef>
                          <a:spcPts val="0"/>
                        </a:spcBef>
                        <a:spcAft>
                          <a:spcPts val="0"/>
                        </a:spcAft>
                        <a:buNone/>
                      </a:pPr>
                      <a:r>
                        <a:rPr lang="en-US" sz="1200" b="1">
                          <a:solidFill>
                            <a:schemeClr val="lt1"/>
                          </a:solidFill>
                        </a:rPr>
                        <a:t>…THEN…</a:t>
                      </a:r>
                      <a:endParaRPr sz="1200"/>
                    </a:p>
                  </a:txBody>
                  <a:tcPr marL="91450" marR="91450" marT="45725" marB="45725" anchor="ctr">
                    <a:solidFill>
                      <a:schemeClr val="dk2"/>
                    </a:solidFill>
                  </a:tcPr>
                </a:tc>
                <a:tc>
                  <a:txBody>
                    <a:bodyPr/>
                    <a:lstStyle/>
                    <a:p>
                      <a:pPr marL="0" marR="0" lvl="0" indent="0" algn="l" rtl="0">
                        <a:spcBef>
                          <a:spcPts val="0"/>
                        </a:spcBef>
                        <a:spcAft>
                          <a:spcPts val="0"/>
                        </a:spcAft>
                        <a:buNone/>
                      </a:pPr>
                      <a:r>
                        <a:rPr lang="en-US" sz="1200" b="1" i="1" dirty="0">
                          <a:solidFill>
                            <a:schemeClr val="dk2"/>
                          </a:solidFill>
                        </a:rPr>
                        <a:t>What will be true at the end of the program?</a:t>
                      </a:r>
                      <a:endParaRPr sz="1200" dirty="0"/>
                    </a:p>
                    <a:p>
                      <a:pPr marL="0" marR="0" lvl="0" indent="0" algn="l" rtl="0">
                        <a:spcBef>
                          <a:spcPts val="0"/>
                        </a:spcBef>
                        <a:spcAft>
                          <a:spcPts val="0"/>
                        </a:spcAft>
                        <a:buNone/>
                      </a:pPr>
                      <a:r>
                        <a:rPr lang="en-US" sz="1200" i="1" dirty="0">
                          <a:solidFill>
                            <a:schemeClr val="dk1"/>
                          </a:solidFill>
                        </a:rPr>
                        <a:t>(e.g., they will grow in target areas, they will achieve readiness for the principalship, we will better understand our bench)</a:t>
                      </a:r>
                      <a:endParaRPr sz="1200" dirty="0"/>
                    </a:p>
                  </a:txBody>
                  <a:tcPr marL="91450" marR="91450" marT="45725" marB="45725">
                    <a:solidFill>
                      <a:srgbClr val="AFCFFF"/>
                    </a:solidFill>
                  </a:tcPr>
                </a:tc>
                <a:extLst>
                  <a:ext uri="{0D108BD9-81ED-4DB2-BD59-A6C34878D82A}">
                    <a16:rowId xmlns:a16="http://schemas.microsoft.com/office/drawing/2014/main" val="3127135396"/>
                  </a:ext>
                </a:extLst>
              </a:tr>
              <a:tr h="705967">
                <a:tc>
                  <a:txBody>
                    <a:bodyPr/>
                    <a:lstStyle/>
                    <a:p>
                      <a:pPr marL="0" marR="0" lvl="0" indent="0" algn="ctr" rtl="0">
                        <a:spcBef>
                          <a:spcPts val="0"/>
                        </a:spcBef>
                        <a:spcAft>
                          <a:spcPts val="0"/>
                        </a:spcAft>
                        <a:buNone/>
                      </a:pPr>
                      <a:r>
                        <a:rPr lang="en-US" sz="1200" b="1">
                          <a:solidFill>
                            <a:schemeClr val="lt1"/>
                          </a:solidFill>
                        </a:rPr>
                        <a:t>…SO THAT…</a:t>
                      </a:r>
                      <a:endParaRPr sz="1200"/>
                    </a:p>
                  </a:txBody>
                  <a:tcPr marL="91450" marR="91450" marT="45725" marB="45725" anchor="ctr">
                    <a:solidFill>
                      <a:schemeClr val="dk2"/>
                    </a:solidFill>
                  </a:tcPr>
                </a:tc>
                <a:tc>
                  <a:txBody>
                    <a:bodyPr/>
                    <a:lstStyle/>
                    <a:p>
                      <a:pPr marL="0" marR="0" lvl="0" indent="0" algn="l" rtl="0">
                        <a:spcBef>
                          <a:spcPts val="0"/>
                        </a:spcBef>
                        <a:spcAft>
                          <a:spcPts val="0"/>
                        </a:spcAft>
                        <a:buNone/>
                      </a:pPr>
                      <a:r>
                        <a:rPr lang="en-US" sz="1200" b="1" i="1" dirty="0">
                          <a:solidFill>
                            <a:schemeClr val="dk2"/>
                          </a:solidFill>
                        </a:rPr>
                        <a:t>What is the benefit to the district or students? What need are you filling?</a:t>
                      </a:r>
                      <a:endParaRPr sz="1200" dirty="0"/>
                    </a:p>
                    <a:p>
                      <a:pPr marL="0" marR="0" lvl="0" indent="0" algn="l" rtl="0">
                        <a:spcBef>
                          <a:spcPts val="0"/>
                        </a:spcBef>
                        <a:spcAft>
                          <a:spcPts val="0"/>
                        </a:spcAft>
                        <a:buNone/>
                      </a:pPr>
                      <a:r>
                        <a:rPr lang="en-US" sz="1200" i="1" dirty="0">
                          <a:solidFill>
                            <a:schemeClr val="dk1"/>
                          </a:solidFill>
                        </a:rPr>
                        <a:t>(e.g., we will have a ready internal candidate for every principal vacancy, we will be better ready to fill vacancies at high needs schools, we will have a sustainably strong bench in 2-3 years, we )</a:t>
                      </a:r>
                      <a:endParaRPr sz="1200" dirty="0"/>
                    </a:p>
                  </a:txBody>
                  <a:tcPr marL="91450" marR="91450" marT="45725" marB="45725">
                    <a:solidFill>
                      <a:srgbClr val="AFCFFF"/>
                    </a:solidFill>
                  </a:tcPr>
                </a:tc>
                <a:extLst>
                  <a:ext uri="{0D108BD9-81ED-4DB2-BD59-A6C34878D82A}">
                    <a16:rowId xmlns:a16="http://schemas.microsoft.com/office/drawing/2014/main" val="2918946138"/>
                  </a:ext>
                </a:extLst>
              </a:tr>
            </a:tbl>
          </a:graphicData>
        </a:graphic>
      </p:graphicFrame>
      <p:sp>
        <p:nvSpPr>
          <p:cNvPr id="28" name="TextBox 27">
            <a:extLst>
              <a:ext uri="{FF2B5EF4-FFF2-40B4-BE49-F238E27FC236}">
                <a16:creationId xmlns:a16="http://schemas.microsoft.com/office/drawing/2014/main" id="{8BD9F09A-F685-F477-106B-7D395E89C174}"/>
              </a:ext>
            </a:extLst>
          </p:cNvPr>
          <p:cNvSpPr txBox="1"/>
          <p:nvPr/>
        </p:nvSpPr>
        <p:spPr>
          <a:xfrm>
            <a:off x="6372223" y="1276144"/>
            <a:ext cx="5343525" cy="830997"/>
          </a:xfrm>
          <a:prstGeom prst="rect">
            <a:avLst/>
          </a:prstGeom>
          <a:noFill/>
        </p:spPr>
        <p:txBody>
          <a:bodyPr wrap="square">
            <a:spAutoFit/>
          </a:bodyPr>
          <a:lstStyle/>
          <a:p>
            <a:r>
              <a:rPr lang="en-US" sz="1200" i="1" dirty="0">
                <a:solidFill>
                  <a:schemeClr val="bg1">
                    <a:lumMod val="65000"/>
                  </a:schemeClr>
                </a:solidFill>
              </a:rPr>
              <a:t>Consider creating or at least thinking through a theory of action for each development offering, articulating what you expect both the immediate and long-term impact of your actions will be and why that matters for the results you are seeking. The table below can provide a structure to this activity:</a:t>
            </a:r>
          </a:p>
        </p:txBody>
      </p:sp>
    </p:spTree>
    <p:extLst>
      <p:ext uri="{BB962C8B-B14F-4D97-AF65-F5344CB8AC3E}">
        <p14:creationId xmlns:p14="http://schemas.microsoft.com/office/powerpoint/2010/main" val="5406983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F6C58DE-BB7F-E44E-2E76-3A4FC7C4BDB4}"/>
              </a:ext>
            </a:extLst>
          </p:cNvPr>
          <p:cNvGraphicFramePr>
            <a:graphicFrameLocks noChangeAspect="1"/>
          </p:cNvGraphicFramePr>
          <p:nvPr>
            <p:custDataLst>
              <p:tags r:id="rId1"/>
            </p:custDataLst>
            <p:extLst>
              <p:ext uri="{D42A27DB-BD31-4B8C-83A1-F6EECF244321}">
                <p14:modId xmlns:p14="http://schemas.microsoft.com/office/powerpoint/2010/main" val="2962677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3F6C58DE-BB7F-E44E-2E76-3A4FC7C4BD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00EF27D-14F0-11B1-85B9-368AB8DC2C7B}"/>
              </a:ext>
            </a:extLst>
          </p:cNvPr>
          <p:cNvSpPr>
            <a:spLocks noGrp="1"/>
          </p:cNvSpPr>
          <p:nvPr>
            <p:ph type="title"/>
          </p:nvPr>
        </p:nvSpPr>
        <p:spPr/>
        <p:txBody>
          <a:bodyPr vert="horz"/>
          <a:lstStyle/>
          <a:p>
            <a:r>
              <a:rPr lang="en-US" dirty="0">
                <a:solidFill>
                  <a:schemeClr val="accent1"/>
                </a:solidFill>
              </a:rPr>
              <a:t>Invest and Develop question 3 | </a:t>
            </a:r>
            <a:r>
              <a:rPr lang="en-US" sz="2800" dirty="0"/>
              <a:t>What opportunities are the </a:t>
            </a:r>
            <a:r>
              <a:rPr lang="en-US" sz="2800" b="1" dirty="0"/>
              <a:t>best fit </a:t>
            </a:r>
            <a:r>
              <a:rPr lang="en-US" sz="2800" dirty="0"/>
              <a:t>for addressing each individual’s development needs?</a:t>
            </a:r>
            <a:br>
              <a:rPr lang="en-US" sz="2800" dirty="0"/>
            </a:br>
            <a:endParaRPr lang="en-US" dirty="0"/>
          </a:p>
        </p:txBody>
      </p:sp>
      <p:sp>
        <p:nvSpPr>
          <p:cNvPr id="3" name="Google Shape;246;g272676ce34c_1_102">
            <a:extLst>
              <a:ext uri="{FF2B5EF4-FFF2-40B4-BE49-F238E27FC236}">
                <a16:creationId xmlns:a16="http://schemas.microsoft.com/office/drawing/2014/main" id="{884DC3A7-D23B-8BA9-4F1B-A7EF991C49E4}"/>
              </a:ext>
            </a:extLst>
          </p:cNvPr>
          <p:cNvSpPr txBox="1"/>
          <p:nvPr/>
        </p:nvSpPr>
        <p:spPr>
          <a:xfrm>
            <a:off x="3776131" y="3028950"/>
            <a:ext cx="2929469" cy="3256574"/>
          </a:xfrm>
          <a:prstGeom prst="rect">
            <a:avLst/>
          </a:prstGeom>
          <a:solidFill>
            <a:schemeClr val="bg1">
              <a:lumMod val="95000"/>
            </a:schemeClr>
          </a:solidFill>
          <a:ln>
            <a:noFill/>
          </a:ln>
        </p:spPr>
        <p:txBody>
          <a:bodyPr spcFirstLastPara="1" wrap="square" lIns="80000" tIns="40000" rIns="80000" bIns="40000" anchor="t" anchorCtr="0">
            <a:normAutofit/>
          </a:bodyPr>
          <a:lstStyle/>
          <a:p>
            <a:pPr marL="157500" lvl="1" indent="-157500">
              <a:buClr>
                <a:schemeClr val="accent1"/>
              </a:buClr>
              <a:buSzPct val="100000"/>
              <a:buFont typeface="Arial" panose="020B0604020202020204" pitchFamily="34" charset="0"/>
              <a:buChar char="●"/>
            </a:pPr>
            <a:r>
              <a:rPr lang="en-US" sz="1400" b="0" i="0" u="none" strike="noStrike" cap="none" dirty="0">
                <a:solidFill>
                  <a:schemeClr val="dk1"/>
                </a:solidFill>
                <a:ea typeface="Arial"/>
                <a:cs typeface="Arial"/>
                <a:sym typeface="Arial"/>
              </a:rPr>
              <a:t>Targeted for a </a:t>
            </a:r>
            <a:r>
              <a:rPr lang="en-US" sz="1400" b="0" i="0" u="sng" strike="noStrike" cap="none" dirty="0">
                <a:solidFill>
                  <a:schemeClr val="dk1"/>
                </a:solidFill>
                <a:ea typeface="Arial"/>
                <a:cs typeface="Arial"/>
                <a:sym typeface="Arial"/>
              </a:rPr>
              <a:t>small subset of individuals</a:t>
            </a:r>
            <a:r>
              <a:rPr lang="en-US" sz="1400" b="0" i="0" u="none" strike="noStrike" cap="none" dirty="0">
                <a:solidFill>
                  <a:schemeClr val="dk1"/>
                </a:solidFill>
                <a:ea typeface="Arial"/>
                <a:cs typeface="Arial"/>
                <a:sym typeface="Arial"/>
              </a:rPr>
              <a:t> based on their leadership potential</a:t>
            </a:r>
            <a:endParaRPr sz="1400" b="0" i="0" u="none" strike="noStrike" cap="none" dirty="0">
              <a:solidFill>
                <a:srgbClr val="000000"/>
              </a:solidFill>
              <a:ea typeface="Arial"/>
              <a:cs typeface="Arial"/>
              <a:sym typeface="Arial"/>
            </a:endParaRPr>
          </a:p>
          <a:p>
            <a:pPr marL="157500" lvl="1" indent="-157500">
              <a:spcBef>
                <a:spcPts val="360"/>
              </a:spcBef>
              <a:buClr>
                <a:schemeClr val="accent1"/>
              </a:buClr>
              <a:buSzPct val="100000"/>
              <a:buFont typeface="Arial" panose="020B0604020202020204" pitchFamily="34" charset="0"/>
              <a:buChar char="●"/>
            </a:pPr>
            <a:r>
              <a:rPr lang="en-US" sz="1400" b="0" i="0" u="none" strike="noStrike" cap="none" dirty="0">
                <a:solidFill>
                  <a:schemeClr val="dk1"/>
                </a:solidFill>
                <a:ea typeface="Arial"/>
                <a:cs typeface="Arial"/>
                <a:sym typeface="Arial"/>
              </a:rPr>
              <a:t>Typically focused on helping people get ready for their </a:t>
            </a:r>
            <a:r>
              <a:rPr lang="en-US" sz="1400" b="0" i="0" u="sng" strike="noStrike" cap="none" dirty="0">
                <a:solidFill>
                  <a:schemeClr val="dk1"/>
                </a:solidFill>
                <a:ea typeface="Arial"/>
                <a:cs typeface="Arial"/>
                <a:sym typeface="Arial"/>
              </a:rPr>
              <a:t>next</a:t>
            </a:r>
            <a:r>
              <a:rPr lang="en-US" sz="1400" b="0" i="0" u="none" strike="noStrike" cap="none" dirty="0">
                <a:solidFill>
                  <a:schemeClr val="dk1"/>
                </a:solidFill>
                <a:ea typeface="Arial"/>
                <a:cs typeface="Arial"/>
                <a:sym typeface="Arial"/>
              </a:rPr>
              <a:t> role</a:t>
            </a:r>
            <a:endParaRPr sz="1400" b="0" i="0" u="none" strike="noStrike" cap="none" dirty="0">
              <a:solidFill>
                <a:srgbClr val="000000"/>
              </a:solidFill>
              <a:ea typeface="Arial"/>
              <a:cs typeface="Arial"/>
              <a:sym typeface="Arial"/>
            </a:endParaRPr>
          </a:p>
          <a:p>
            <a:pPr marL="157500" lvl="1" indent="-157500">
              <a:spcBef>
                <a:spcPts val="360"/>
              </a:spcBef>
              <a:buClr>
                <a:schemeClr val="accent1"/>
              </a:buClr>
              <a:buSzPct val="100000"/>
              <a:buFont typeface="Arial" panose="020B0604020202020204" pitchFamily="34" charset="0"/>
              <a:buChar char="●"/>
            </a:pPr>
            <a:r>
              <a:rPr lang="en-US" sz="1400" b="0" i="0" u="none" strike="noStrike" cap="none" dirty="0">
                <a:solidFill>
                  <a:schemeClr val="dk1"/>
                </a:solidFill>
                <a:ea typeface="Arial"/>
                <a:cs typeface="Arial"/>
                <a:sym typeface="Arial"/>
              </a:rPr>
              <a:t>Sessions may occur after school or on weekends to accommodate for schedules</a:t>
            </a:r>
            <a:endParaRPr sz="1400" b="0" i="0" u="none" strike="noStrike" cap="none" dirty="0">
              <a:solidFill>
                <a:srgbClr val="000000"/>
              </a:solidFill>
              <a:ea typeface="Arial"/>
              <a:cs typeface="Arial"/>
              <a:sym typeface="Arial"/>
            </a:endParaRPr>
          </a:p>
          <a:p>
            <a:pPr marL="157500" lvl="1" indent="-157500">
              <a:spcBef>
                <a:spcPts val="360"/>
              </a:spcBef>
              <a:buClr>
                <a:schemeClr val="accent1"/>
              </a:buClr>
              <a:buSzPct val="100000"/>
              <a:buFont typeface="Arial" panose="020B0604020202020204" pitchFamily="34" charset="0"/>
              <a:buChar char="●"/>
            </a:pPr>
            <a:r>
              <a:rPr lang="en-US" sz="1400" b="0" i="0" u="none" strike="noStrike" cap="none" dirty="0">
                <a:solidFill>
                  <a:schemeClr val="dk1"/>
                </a:solidFill>
                <a:ea typeface="Arial"/>
                <a:cs typeface="Arial"/>
                <a:sym typeface="Arial"/>
              </a:rPr>
              <a:t>Structures include a wider array of learning experiences like coaching and on-the-job experiences, not just formal sessions</a:t>
            </a:r>
            <a:endParaRPr sz="1400" b="0" i="0" u="none" strike="noStrike" cap="none" dirty="0">
              <a:solidFill>
                <a:schemeClr val="dk1"/>
              </a:solidFill>
              <a:ea typeface="Arial"/>
              <a:cs typeface="Arial"/>
              <a:sym typeface="Arial"/>
            </a:endParaRPr>
          </a:p>
        </p:txBody>
      </p:sp>
      <p:sp>
        <p:nvSpPr>
          <p:cNvPr id="5" name="Google Shape;247;g272676ce34c_1_102">
            <a:extLst>
              <a:ext uri="{FF2B5EF4-FFF2-40B4-BE49-F238E27FC236}">
                <a16:creationId xmlns:a16="http://schemas.microsoft.com/office/drawing/2014/main" id="{3D98B8A3-646D-4CB5-6017-CBE885DC4C9C}"/>
              </a:ext>
            </a:extLst>
          </p:cNvPr>
          <p:cNvSpPr txBox="1"/>
          <p:nvPr/>
        </p:nvSpPr>
        <p:spPr>
          <a:xfrm>
            <a:off x="649993" y="3038475"/>
            <a:ext cx="2929469" cy="3256574"/>
          </a:xfrm>
          <a:prstGeom prst="rect">
            <a:avLst/>
          </a:prstGeom>
          <a:solidFill>
            <a:schemeClr val="bg1">
              <a:lumMod val="95000"/>
            </a:schemeClr>
          </a:solidFill>
          <a:ln>
            <a:noFill/>
          </a:ln>
        </p:spPr>
        <p:txBody>
          <a:bodyPr spcFirstLastPara="1" wrap="square" lIns="80000" tIns="40000" rIns="80000" bIns="40000" anchor="t" anchorCtr="0">
            <a:normAutofit/>
          </a:bodyPr>
          <a:lstStyle/>
          <a:p>
            <a:pPr marL="157500" lvl="1" indent="-157500">
              <a:buClr>
                <a:schemeClr val="accent1"/>
              </a:buClr>
              <a:buSzPct val="100000"/>
              <a:buFont typeface="Arial" panose="020B0604020202020204" pitchFamily="34" charset="0"/>
              <a:buChar char="●"/>
            </a:pPr>
            <a:r>
              <a:rPr lang="en-US" sz="1400" b="0" i="0" u="none" strike="noStrike" cap="none" dirty="0">
                <a:solidFill>
                  <a:schemeClr val="dk1"/>
                </a:solidFill>
                <a:ea typeface="Arial"/>
                <a:cs typeface="Arial"/>
                <a:sym typeface="Arial"/>
              </a:rPr>
              <a:t>Targeted for </a:t>
            </a:r>
            <a:r>
              <a:rPr lang="en-US" sz="1400" b="0" i="0" u="sng" strike="noStrike" cap="none" dirty="0">
                <a:solidFill>
                  <a:schemeClr val="dk1"/>
                </a:solidFill>
                <a:ea typeface="Arial"/>
                <a:cs typeface="Arial"/>
                <a:sym typeface="Arial"/>
              </a:rPr>
              <a:t>all</a:t>
            </a:r>
            <a:r>
              <a:rPr lang="en-US" sz="1400" b="0" i="0" u="none" strike="noStrike" cap="none" dirty="0">
                <a:solidFill>
                  <a:schemeClr val="dk1"/>
                </a:solidFill>
                <a:ea typeface="Arial"/>
                <a:cs typeface="Arial"/>
                <a:sym typeface="Arial"/>
              </a:rPr>
              <a:t> individuals in a particular role, or at least a </a:t>
            </a:r>
            <a:r>
              <a:rPr lang="en-US" sz="1400" b="0" i="0" u="sng" strike="noStrike" cap="none" dirty="0">
                <a:solidFill>
                  <a:schemeClr val="dk1"/>
                </a:solidFill>
                <a:ea typeface="Arial"/>
                <a:cs typeface="Arial"/>
                <a:sym typeface="Arial"/>
              </a:rPr>
              <a:t>very large swath </a:t>
            </a:r>
            <a:r>
              <a:rPr lang="en-US" sz="1400" b="0" i="0" u="none" strike="noStrike" cap="none" dirty="0">
                <a:solidFill>
                  <a:schemeClr val="dk1"/>
                </a:solidFill>
                <a:ea typeface="Arial"/>
                <a:cs typeface="Arial"/>
                <a:sym typeface="Arial"/>
              </a:rPr>
              <a:t> of individuals in a particular role</a:t>
            </a:r>
            <a:endParaRPr sz="1400" b="0" i="0" u="none" strike="noStrike" cap="none" dirty="0">
              <a:solidFill>
                <a:srgbClr val="000000"/>
              </a:solidFill>
              <a:ea typeface="Arial"/>
              <a:cs typeface="Arial"/>
              <a:sym typeface="Arial"/>
            </a:endParaRPr>
          </a:p>
          <a:p>
            <a:pPr marL="157500" lvl="1" indent="-157500">
              <a:spcBef>
                <a:spcPts val="360"/>
              </a:spcBef>
              <a:buClr>
                <a:schemeClr val="accent1"/>
              </a:buClr>
              <a:buSzPct val="100000"/>
              <a:buFont typeface="Arial" panose="020B0604020202020204" pitchFamily="34" charset="0"/>
              <a:buChar char="●"/>
            </a:pPr>
            <a:r>
              <a:rPr lang="en-US" sz="1400" b="0" i="0" u="none" strike="noStrike" cap="none" dirty="0">
                <a:solidFill>
                  <a:schemeClr val="dk1"/>
                </a:solidFill>
                <a:ea typeface="Arial"/>
                <a:cs typeface="Arial"/>
                <a:sym typeface="Arial"/>
              </a:rPr>
              <a:t>Focused on helping people improve in one’s current job</a:t>
            </a:r>
            <a:endParaRPr sz="1400" b="0" i="0" u="none" strike="noStrike" cap="none" dirty="0">
              <a:solidFill>
                <a:srgbClr val="000000"/>
              </a:solidFill>
              <a:ea typeface="Arial"/>
              <a:cs typeface="Arial"/>
              <a:sym typeface="Arial"/>
            </a:endParaRPr>
          </a:p>
          <a:p>
            <a:pPr marL="157500" lvl="1" indent="-157500">
              <a:spcBef>
                <a:spcPts val="360"/>
              </a:spcBef>
              <a:buClr>
                <a:schemeClr val="accent1"/>
              </a:buClr>
              <a:buSzPct val="100000"/>
              <a:buFont typeface="Arial" panose="020B0604020202020204" pitchFamily="34" charset="0"/>
              <a:buChar char="●"/>
            </a:pPr>
            <a:r>
              <a:rPr lang="en-US" sz="1400" b="0" i="0" u="none" strike="noStrike" cap="none" dirty="0">
                <a:solidFill>
                  <a:schemeClr val="dk1"/>
                </a:solidFill>
                <a:ea typeface="Arial"/>
                <a:cs typeface="Arial"/>
                <a:sym typeface="Arial"/>
              </a:rPr>
              <a:t>Typically happen on set-aside PD days or after school in regularly scheduled professional development</a:t>
            </a:r>
            <a:endParaRPr sz="1400" b="0" i="0" u="none" strike="noStrike" cap="none" dirty="0">
              <a:solidFill>
                <a:srgbClr val="000000"/>
              </a:solidFill>
              <a:ea typeface="Arial"/>
              <a:cs typeface="Arial"/>
              <a:sym typeface="Arial"/>
            </a:endParaRPr>
          </a:p>
          <a:p>
            <a:pPr marL="157500" lvl="1" indent="-157500">
              <a:spcBef>
                <a:spcPts val="360"/>
              </a:spcBef>
              <a:buClr>
                <a:schemeClr val="accent1"/>
              </a:buClr>
              <a:buSzPct val="100000"/>
              <a:buFont typeface="Arial" panose="020B0604020202020204" pitchFamily="34" charset="0"/>
              <a:buChar char="●"/>
            </a:pPr>
            <a:r>
              <a:rPr lang="en-US" sz="1400" b="0" i="0" u="none" strike="noStrike" cap="none" dirty="0">
                <a:solidFill>
                  <a:schemeClr val="dk1"/>
                </a:solidFill>
                <a:ea typeface="Arial"/>
                <a:cs typeface="Arial"/>
                <a:sym typeface="Arial"/>
              </a:rPr>
              <a:t>Ideally includes a mix of “push” strategies (content given to them) and “on demand” strategies (content that individuals can access)</a:t>
            </a:r>
            <a:endParaRPr sz="1400" b="0" i="0" u="none" strike="noStrike" cap="none" dirty="0">
              <a:solidFill>
                <a:srgbClr val="000000"/>
              </a:solidFill>
              <a:ea typeface="Arial"/>
              <a:cs typeface="Arial"/>
              <a:sym typeface="Arial"/>
            </a:endParaRPr>
          </a:p>
        </p:txBody>
      </p:sp>
      <p:sp>
        <p:nvSpPr>
          <p:cNvPr id="6" name="Google Shape;248;g272676ce34c_1_102">
            <a:extLst>
              <a:ext uri="{FF2B5EF4-FFF2-40B4-BE49-F238E27FC236}">
                <a16:creationId xmlns:a16="http://schemas.microsoft.com/office/drawing/2014/main" id="{97308474-3E8D-08DC-CCE8-779C3DA94EF0}"/>
              </a:ext>
            </a:extLst>
          </p:cNvPr>
          <p:cNvSpPr/>
          <p:nvPr/>
        </p:nvSpPr>
        <p:spPr>
          <a:xfrm>
            <a:off x="3776130" y="2409974"/>
            <a:ext cx="2929469" cy="476400"/>
          </a:xfrm>
          <a:prstGeom prst="rect">
            <a:avLst/>
          </a:prstGeom>
          <a:solidFill>
            <a:schemeClr val="tx2">
              <a:lumMod val="20000"/>
              <a:lumOff val="80000"/>
            </a:schemeClr>
          </a:solidFill>
          <a:ln>
            <a:solidFill>
              <a:schemeClr val="accent1"/>
            </a:solidFill>
          </a:ln>
        </p:spPr>
        <p:txBody>
          <a:bodyPr spcFirstLastPara="1" wrap="square" lIns="90000" tIns="46800" rIns="90000" bIns="46800"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US" sz="1400" b="1" i="0" u="none" strike="noStrike" cap="none" dirty="0">
                <a:solidFill>
                  <a:schemeClr val="dk1"/>
                </a:solidFill>
                <a:ea typeface="Arial"/>
                <a:cs typeface="Arial"/>
                <a:sym typeface="Arial"/>
              </a:rPr>
              <a:t>High-Potential Development</a:t>
            </a:r>
            <a:endParaRPr sz="1400" b="0" i="0" u="none" strike="noStrike" cap="none" dirty="0">
              <a:solidFill>
                <a:srgbClr val="000000"/>
              </a:solidFill>
              <a:ea typeface="Arial"/>
              <a:cs typeface="Arial"/>
              <a:sym typeface="Arial"/>
            </a:endParaRPr>
          </a:p>
        </p:txBody>
      </p:sp>
      <p:sp>
        <p:nvSpPr>
          <p:cNvPr id="8" name="Google Shape;249;g272676ce34c_1_102">
            <a:extLst>
              <a:ext uri="{FF2B5EF4-FFF2-40B4-BE49-F238E27FC236}">
                <a16:creationId xmlns:a16="http://schemas.microsoft.com/office/drawing/2014/main" id="{3146ED28-7DF1-CD2F-7363-6F07A327609B}"/>
              </a:ext>
            </a:extLst>
          </p:cNvPr>
          <p:cNvSpPr/>
          <p:nvPr/>
        </p:nvSpPr>
        <p:spPr>
          <a:xfrm>
            <a:off x="649993" y="2409974"/>
            <a:ext cx="2929469" cy="476400"/>
          </a:xfrm>
          <a:prstGeom prst="rect">
            <a:avLst/>
          </a:prstGeom>
          <a:solidFill>
            <a:schemeClr val="tx2">
              <a:lumMod val="20000"/>
              <a:lumOff val="80000"/>
            </a:schemeClr>
          </a:solidFill>
          <a:ln>
            <a:solidFill>
              <a:schemeClr val="accent1"/>
            </a:solidFill>
          </a:ln>
        </p:spPr>
        <p:txBody>
          <a:bodyPr spcFirstLastPara="1" wrap="square" lIns="90000" tIns="46800" rIns="90000" bIns="46800"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US" sz="1400" b="1" i="0" u="none" strike="noStrike" cap="none" dirty="0">
                <a:solidFill>
                  <a:schemeClr val="dk1"/>
                </a:solidFill>
                <a:ea typeface="Arial"/>
                <a:cs typeface="Arial"/>
                <a:sym typeface="Arial"/>
              </a:rPr>
              <a:t>Core Development</a:t>
            </a:r>
            <a:endParaRPr sz="1400" b="0" i="0" u="none" strike="noStrike" cap="none" dirty="0">
              <a:solidFill>
                <a:srgbClr val="000000"/>
              </a:solidFill>
              <a:ea typeface="Arial"/>
              <a:cs typeface="Arial"/>
              <a:sym typeface="Arial"/>
            </a:endParaRPr>
          </a:p>
        </p:txBody>
      </p:sp>
      <p:sp>
        <p:nvSpPr>
          <p:cNvPr id="9" name="TextBox 8">
            <a:extLst>
              <a:ext uri="{FF2B5EF4-FFF2-40B4-BE49-F238E27FC236}">
                <a16:creationId xmlns:a16="http://schemas.microsoft.com/office/drawing/2014/main" id="{E0BAD53E-A918-846F-0F94-135C43E5FF80}"/>
              </a:ext>
            </a:extLst>
          </p:cNvPr>
          <p:cNvSpPr txBox="1"/>
          <p:nvPr/>
        </p:nvSpPr>
        <p:spPr>
          <a:xfrm>
            <a:off x="600689" y="1210687"/>
            <a:ext cx="6350882" cy="1169551"/>
          </a:xfrm>
          <a:prstGeom prst="rect">
            <a:avLst/>
          </a:prstGeom>
          <a:noFill/>
        </p:spPr>
        <p:txBody>
          <a:bodyPr wrap="square" rtlCol="0">
            <a:spAutoFit/>
          </a:bodyPr>
          <a:lstStyle/>
          <a:p>
            <a:r>
              <a:rPr lang="en-US" sz="1400" i="1" dirty="0"/>
              <a:t>Everyone in your system deserves to be invested in, but not everyone needs the same thing. Go back to slide 29 to define what program/opportunity is best fit for each individual based on their development priorities. We find it helpful to differentiate first those who need Core Development for their current role from those who need High-Potential Development for the next role. We define these as:</a:t>
            </a:r>
          </a:p>
        </p:txBody>
      </p:sp>
      <p:sp>
        <p:nvSpPr>
          <p:cNvPr id="10" name="TextBox 9">
            <a:extLst>
              <a:ext uri="{FF2B5EF4-FFF2-40B4-BE49-F238E27FC236}">
                <a16:creationId xmlns:a16="http://schemas.microsoft.com/office/drawing/2014/main" id="{F6E44D11-1BD9-A815-B045-82A919C3FC53}"/>
              </a:ext>
            </a:extLst>
          </p:cNvPr>
          <p:cNvSpPr txBox="1"/>
          <p:nvPr/>
        </p:nvSpPr>
        <p:spPr>
          <a:xfrm>
            <a:off x="7203096" y="1303949"/>
            <a:ext cx="4464931" cy="4924425"/>
          </a:xfrm>
          <a:prstGeom prst="rect">
            <a:avLst/>
          </a:prstGeom>
          <a:solidFill>
            <a:schemeClr val="accent1">
              <a:lumMod val="20000"/>
              <a:lumOff val="80000"/>
            </a:schemeClr>
          </a:solidFill>
        </p:spPr>
        <p:txBody>
          <a:bodyPr wrap="square" rtlCol="0">
            <a:spAutoFit/>
          </a:bodyPr>
          <a:lstStyle/>
          <a:p>
            <a:r>
              <a:rPr lang="en-US" sz="1200" i="1" dirty="0"/>
              <a:t>The most differentiated component of leadership development for your high-potential staff is on-the-job development. Creating a clear Individual Development Plan for this is essential to its success but is often overlooked. Structuring that learning for adults is essential. An IDP for on-the-job development might include:</a:t>
            </a:r>
          </a:p>
          <a:p>
            <a:endParaRPr lang="en-US" sz="1200" i="1" dirty="0"/>
          </a:p>
          <a:p>
            <a:r>
              <a:rPr lang="en-US" sz="1100" b="1" i="1" dirty="0"/>
              <a:t>Targeted Readiness Criteria: </a:t>
            </a:r>
            <a:r>
              <a:rPr lang="en-US" sz="1100" i="1" dirty="0"/>
              <a:t> 2-3 skills in which the leader will build capacity</a:t>
            </a:r>
          </a:p>
          <a:p>
            <a:r>
              <a:rPr lang="en-US" sz="1100" b="1" i="1" dirty="0"/>
              <a:t>Skill development: </a:t>
            </a:r>
            <a:r>
              <a:rPr lang="en-US" sz="1100" i="1" dirty="0"/>
              <a:t>Overview how the leader will increase their skill and knowledge</a:t>
            </a:r>
          </a:p>
          <a:p>
            <a:r>
              <a:rPr lang="en-US" sz="1100" b="1" i="1" dirty="0"/>
              <a:t>Goals/Outcome(s): W</a:t>
            </a:r>
            <a:r>
              <a:rPr lang="en-US" sz="1100" i="1" dirty="0"/>
              <a:t>hat the leader will be able to do after this opportunity?</a:t>
            </a:r>
          </a:p>
          <a:p>
            <a:r>
              <a:rPr lang="en-US" sz="1100" b="1" i="1" dirty="0"/>
              <a:t>Success Criteria: </a:t>
            </a:r>
            <a:r>
              <a:rPr lang="en-US" sz="1100" i="1" dirty="0"/>
              <a:t>How will you know the leader has achieved the desired outcome? </a:t>
            </a:r>
          </a:p>
          <a:p>
            <a:r>
              <a:rPr lang="en-US" sz="1100" b="1" i="1" dirty="0"/>
              <a:t>Duration: </a:t>
            </a:r>
            <a:r>
              <a:rPr lang="en-US" sz="1100" i="1" dirty="0"/>
              <a:t>How long will the leader participate in this opportunity? </a:t>
            </a:r>
          </a:p>
          <a:p>
            <a:r>
              <a:rPr lang="en-US" sz="1100" b="1" i="1" dirty="0"/>
              <a:t>Optimal Timing: </a:t>
            </a:r>
            <a:r>
              <a:rPr lang="en-US" sz="1100" i="1" dirty="0"/>
              <a:t>Start and end dates; Consider a principal's recurring tasks and activities throughout the year.</a:t>
            </a:r>
          </a:p>
          <a:p>
            <a:r>
              <a:rPr lang="en-US" sz="1100" b="1" i="1" dirty="0"/>
              <a:t>Experience Supervisor(s): </a:t>
            </a:r>
            <a:r>
              <a:rPr lang="en-US" sz="1100" i="1" dirty="0"/>
              <a:t>Usually, the leader's immediate manager</a:t>
            </a:r>
          </a:p>
          <a:p>
            <a:r>
              <a:rPr lang="en-US" sz="1100" b="1" i="1" dirty="0"/>
              <a:t>Additional Staff/Department Contributors</a:t>
            </a:r>
            <a:r>
              <a:rPr lang="en-US" sz="1100" i="1" dirty="0"/>
              <a:t>: Individuals who will support; Other departments where the leader may spend time</a:t>
            </a:r>
          </a:p>
          <a:p>
            <a:r>
              <a:rPr lang="en-US" sz="1100" b="1" i="1" dirty="0"/>
              <a:t>Action Tasks and deadlines: </a:t>
            </a:r>
            <a:r>
              <a:rPr lang="en-US" sz="1100" i="1" dirty="0"/>
              <a:t>Outline the actions that the leader will undertake during the experience. Actions may include:</a:t>
            </a:r>
          </a:p>
          <a:p>
            <a:pPr marL="123750" lvl="1" indent="-123750">
              <a:buClr>
                <a:schemeClr val="bg1">
                  <a:lumMod val="65000"/>
                </a:schemeClr>
              </a:buClr>
              <a:buSzPct val="75000"/>
              <a:buFont typeface="Arial" panose="020B0604020202020204" pitchFamily="34" charset="0"/>
              <a:buChar char="●"/>
            </a:pPr>
            <a:r>
              <a:rPr lang="en-US" sz="1100" i="1" dirty="0"/>
              <a:t>Establish regular 1:1 meetings with supervisor.</a:t>
            </a:r>
          </a:p>
          <a:p>
            <a:pPr marL="123750" lvl="1" indent="-123750">
              <a:buClr>
                <a:schemeClr val="bg1">
                  <a:lumMod val="65000"/>
                </a:schemeClr>
              </a:buClr>
              <a:buSzPct val="75000"/>
              <a:buFont typeface="Arial" panose="020B0604020202020204" pitchFamily="34" charset="0"/>
              <a:buChar char="●"/>
            </a:pPr>
            <a:r>
              <a:rPr lang="en-US" sz="1100" i="1" dirty="0"/>
              <a:t>Meet with the supervisor to establish stretch opportunity experience objectives, deadlines, major milestones.</a:t>
            </a:r>
          </a:p>
          <a:p>
            <a:pPr marL="123750" lvl="1" indent="-123750">
              <a:buClr>
                <a:schemeClr val="bg1">
                  <a:lumMod val="65000"/>
                </a:schemeClr>
              </a:buClr>
              <a:buSzPct val="75000"/>
              <a:buFont typeface="Arial" panose="020B0604020202020204" pitchFamily="34" charset="0"/>
              <a:buChar char="●"/>
            </a:pPr>
            <a:r>
              <a:rPr lang="en-US" sz="1100" i="1" dirty="0"/>
              <a:t>Who the leader should collaborate or connect with for learning, observations, and feedback.</a:t>
            </a:r>
          </a:p>
          <a:p>
            <a:pPr marL="123750" lvl="1" indent="-123750">
              <a:buClr>
                <a:schemeClr val="bg1">
                  <a:lumMod val="65000"/>
                </a:schemeClr>
              </a:buClr>
              <a:buSzPct val="75000"/>
              <a:buFont typeface="Arial" panose="020B0604020202020204" pitchFamily="34" charset="0"/>
              <a:buChar char="●"/>
            </a:pPr>
            <a:r>
              <a:rPr lang="en-US" sz="1100" i="1" dirty="0"/>
              <a:t>What data the leader should collect and analyze</a:t>
            </a:r>
          </a:p>
          <a:p>
            <a:pPr marL="123750" lvl="1" indent="-123750">
              <a:buClr>
                <a:schemeClr val="bg1">
                  <a:lumMod val="65000"/>
                </a:schemeClr>
              </a:buClr>
              <a:buSzPct val="75000"/>
              <a:buFont typeface="Arial" panose="020B0604020202020204" pitchFamily="34" charset="0"/>
              <a:buChar char="●"/>
            </a:pPr>
            <a:r>
              <a:rPr lang="en-US" sz="1100" i="1" dirty="0"/>
              <a:t>Prepare reports or present findings/outcomes and to whom.</a:t>
            </a:r>
          </a:p>
        </p:txBody>
      </p:sp>
    </p:spTree>
    <p:extLst>
      <p:ext uri="{BB962C8B-B14F-4D97-AF65-F5344CB8AC3E}">
        <p14:creationId xmlns:p14="http://schemas.microsoft.com/office/powerpoint/2010/main" val="36995000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18EB5E-C9F5-7518-F5E8-7BF13D3D5333}"/>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816AC69A-6F53-7AD7-0B93-F85479E3EB2D}"/>
              </a:ext>
            </a:extLst>
          </p:cNvPr>
          <p:cNvSpPr>
            <a:spLocks noGrp="1"/>
          </p:cNvSpPr>
          <p:nvPr>
            <p:ph type="body" sz="quarter" idx="11"/>
          </p:nvPr>
        </p:nvSpPr>
        <p:spPr>
          <a:xfrm>
            <a:off x="711200" y="1447801"/>
            <a:ext cx="6197600" cy="1569660"/>
          </a:xfrm>
        </p:spPr>
        <p:txBody>
          <a:bodyPr/>
          <a:lstStyle/>
          <a:p>
            <a:r>
              <a:rPr lang="en-US" dirty="0"/>
              <a:t>Where do we go next?</a:t>
            </a:r>
          </a:p>
        </p:txBody>
      </p:sp>
      <p:sp>
        <p:nvSpPr>
          <p:cNvPr id="4" name="Content Placeholder 3">
            <a:extLst>
              <a:ext uri="{FF2B5EF4-FFF2-40B4-BE49-F238E27FC236}">
                <a16:creationId xmlns:a16="http://schemas.microsoft.com/office/drawing/2014/main" id="{1649EA9E-16F8-6168-11BC-99C84F29DCC3}"/>
              </a:ext>
            </a:extLst>
          </p:cNvPr>
          <p:cNvSpPr>
            <a:spLocks noGrp="1"/>
          </p:cNvSpPr>
          <p:nvPr>
            <p:ph sz="quarter" idx="13"/>
          </p:nvPr>
        </p:nvSpPr>
        <p:spPr/>
        <p:txBody>
          <a:bodyPr/>
          <a:lstStyle/>
          <a:p>
            <a:r>
              <a:rPr lang="en-US" dirty="0"/>
              <a:t>5</a:t>
            </a:r>
          </a:p>
        </p:txBody>
      </p:sp>
    </p:spTree>
    <p:extLst>
      <p:ext uri="{BB962C8B-B14F-4D97-AF65-F5344CB8AC3E}">
        <p14:creationId xmlns:p14="http://schemas.microsoft.com/office/powerpoint/2010/main" val="26320221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60BF691-DFDF-1D0B-6761-1E197BFAE69D}"/>
              </a:ext>
            </a:extLst>
          </p:cNvPr>
          <p:cNvGraphicFramePr>
            <a:graphicFrameLocks noChangeAspect="1"/>
          </p:cNvGraphicFramePr>
          <p:nvPr>
            <p:custDataLst>
              <p:tags r:id="rId1"/>
            </p:custDataLst>
            <p:extLst>
              <p:ext uri="{D42A27DB-BD31-4B8C-83A1-F6EECF244321}">
                <p14:modId xmlns:p14="http://schemas.microsoft.com/office/powerpoint/2010/main" val="4209732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760BF691-DFDF-1D0B-6761-1E197BFAE6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D442884-DD65-4F09-CA8F-72E86D08DF04}"/>
              </a:ext>
            </a:extLst>
          </p:cNvPr>
          <p:cNvSpPr>
            <a:spLocks noGrp="1"/>
          </p:cNvSpPr>
          <p:nvPr>
            <p:ph type="body" sz="quarter" idx="11"/>
          </p:nvPr>
        </p:nvSpPr>
        <p:spPr>
          <a:xfrm>
            <a:off x="5295900" y="1466850"/>
            <a:ext cx="6184896" cy="4800600"/>
          </a:xfrm>
        </p:spPr>
        <p:txBody>
          <a:bodyPr>
            <a:normAutofit/>
          </a:bodyPr>
          <a:lstStyle/>
          <a:p>
            <a:pPr marL="457200" indent="-457200">
              <a:buFont typeface="+mj-lt"/>
              <a:buAutoNum type="arabicPeriod"/>
            </a:pPr>
            <a:r>
              <a:rPr lang="en-US" sz="2000" i="0" dirty="0">
                <a:solidFill>
                  <a:srgbClr val="000000"/>
                </a:solidFill>
                <a:latin typeface="+mn-lt"/>
              </a:rPr>
              <a:t>A reliable </a:t>
            </a:r>
            <a:r>
              <a:rPr lang="en-US" sz="2000" b="1" i="0" dirty="0">
                <a:solidFill>
                  <a:schemeClr val="accent1"/>
                </a:solidFill>
                <a:latin typeface="+mn-lt"/>
              </a:rPr>
              <a:t>prediction of</a:t>
            </a:r>
            <a:r>
              <a:rPr lang="en-US" sz="2000" i="0" dirty="0">
                <a:solidFill>
                  <a:schemeClr val="accent1"/>
                </a:solidFill>
                <a:latin typeface="+mn-lt"/>
              </a:rPr>
              <a:t> </a:t>
            </a:r>
            <a:r>
              <a:rPr lang="en-US" sz="2000" b="1" i="0" dirty="0">
                <a:solidFill>
                  <a:schemeClr val="accent1"/>
                </a:solidFill>
                <a:latin typeface="+mn-lt"/>
              </a:rPr>
              <a:t>how many Principal and AP vacancies</a:t>
            </a:r>
            <a:r>
              <a:rPr lang="en-US" sz="2000" i="0" dirty="0">
                <a:solidFill>
                  <a:schemeClr val="accent1"/>
                </a:solidFill>
                <a:latin typeface="+mn-lt"/>
              </a:rPr>
              <a:t> </a:t>
            </a:r>
            <a:r>
              <a:rPr lang="en-US" sz="2000" i="0" dirty="0">
                <a:solidFill>
                  <a:srgbClr val="000000"/>
                </a:solidFill>
                <a:latin typeface="+mn-lt"/>
              </a:rPr>
              <a:t>your district may have in the upcoming school year</a:t>
            </a:r>
            <a:endParaRPr lang="en-US" sz="2000" dirty="0">
              <a:solidFill>
                <a:srgbClr val="000000"/>
              </a:solidFill>
              <a:latin typeface="+mn-lt"/>
            </a:endParaRPr>
          </a:p>
          <a:p>
            <a:pPr marL="457200" indent="-457200">
              <a:buFont typeface="+mj-lt"/>
              <a:buAutoNum type="arabicPeriod"/>
            </a:pPr>
            <a:r>
              <a:rPr lang="en-US" sz="2000" i="0" dirty="0">
                <a:solidFill>
                  <a:srgbClr val="000000"/>
                </a:solidFill>
                <a:latin typeface="+mn-lt"/>
              </a:rPr>
              <a:t>A more specific hypothesis about schools that might have </a:t>
            </a:r>
            <a:r>
              <a:rPr lang="en-US" sz="2000" b="1" dirty="0">
                <a:solidFill>
                  <a:schemeClr val="accent1"/>
                </a:solidFill>
                <a:latin typeface="+mn-lt"/>
              </a:rPr>
              <a:t>critical vacancies</a:t>
            </a:r>
            <a:r>
              <a:rPr lang="en-US" sz="2000" i="0" dirty="0">
                <a:solidFill>
                  <a:schemeClr val="accent1"/>
                </a:solidFill>
                <a:latin typeface="+mn-lt"/>
              </a:rPr>
              <a:t> </a:t>
            </a:r>
            <a:r>
              <a:rPr lang="en-US" sz="2000" i="0" dirty="0">
                <a:solidFill>
                  <a:srgbClr val="000000"/>
                </a:solidFill>
                <a:latin typeface="+mn-lt"/>
              </a:rPr>
              <a:t>arise</a:t>
            </a:r>
            <a:endParaRPr lang="en-US" sz="2000" dirty="0">
              <a:solidFill>
                <a:srgbClr val="000000"/>
              </a:solidFill>
              <a:latin typeface="+mn-lt"/>
            </a:endParaRPr>
          </a:p>
          <a:p>
            <a:pPr marL="457200" indent="-457200">
              <a:buFont typeface="+mj-lt"/>
              <a:buAutoNum type="arabicPeriod"/>
            </a:pPr>
            <a:r>
              <a:rPr lang="en-US" sz="2000" i="0" dirty="0">
                <a:solidFill>
                  <a:srgbClr val="000000"/>
                </a:solidFill>
                <a:latin typeface="+mn-lt"/>
              </a:rPr>
              <a:t>An </a:t>
            </a:r>
            <a:r>
              <a:rPr lang="en-US" sz="2000" b="1" i="0" dirty="0">
                <a:solidFill>
                  <a:schemeClr val="accent1"/>
                </a:solidFill>
                <a:latin typeface="+mn-lt"/>
              </a:rPr>
              <a:t>understanding of your internal bench of potential principals and APs</a:t>
            </a:r>
            <a:endParaRPr lang="en-US" sz="2000" dirty="0">
              <a:solidFill>
                <a:srgbClr val="000000"/>
              </a:solidFill>
              <a:latin typeface="+mn-lt"/>
            </a:endParaRPr>
          </a:p>
          <a:p>
            <a:pPr marL="457200" indent="-457200">
              <a:buFont typeface="+mj-lt"/>
              <a:buAutoNum type="arabicPeriod"/>
            </a:pPr>
            <a:r>
              <a:rPr lang="en-US" sz="2000" i="0" dirty="0">
                <a:latin typeface="+mn-lt"/>
              </a:rPr>
              <a:t>Providing</a:t>
            </a:r>
            <a:r>
              <a:rPr lang="en-US" sz="2000" b="1" i="0" dirty="0">
                <a:solidFill>
                  <a:schemeClr val="accent1"/>
                </a:solidFill>
                <a:latin typeface="+mn-lt"/>
              </a:rPr>
              <a:t> targeted investments in aspiring leaders</a:t>
            </a:r>
            <a:r>
              <a:rPr lang="en-US" sz="2000" i="0" dirty="0">
                <a:solidFill>
                  <a:schemeClr val="accent1"/>
                </a:solidFill>
                <a:latin typeface="+mn-lt"/>
              </a:rPr>
              <a:t> </a:t>
            </a:r>
            <a:r>
              <a:rPr lang="en-US" sz="2000" i="0" dirty="0">
                <a:solidFill>
                  <a:srgbClr val="000000"/>
                </a:solidFill>
                <a:latin typeface="+mn-lt"/>
              </a:rPr>
              <a:t>who have high potential to help them develop to be "ready" to lead on day 1 in a new leadership role</a:t>
            </a:r>
            <a:endParaRPr lang="en-US" sz="2000" dirty="0">
              <a:solidFill>
                <a:srgbClr val="000000"/>
              </a:solidFill>
              <a:latin typeface="+mn-lt"/>
            </a:endParaRPr>
          </a:p>
          <a:p>
            <a:pPr marL="457200" indent="-457200">
              <a:buFont typeface="+mj-lt"/>
              <a:buAutoNum type="arabicPeriod"/>
            </a:pPr>
            <a:r>
              <a:rPr lang="en-US" sz="2000" i="0" dirty="0">
                <a:solidFill>
                  <a:srgbClr val="000000"/>
                </a:solidFill>
                <a:latin typeface="+mn-lt"/>
              </a:rPr>
              <a:t>Through these investments, districts should have a </a:t>
            </a:r>
            <a:r>
              <a:rPr lang="en-US" sz="2000" b="1" i="0" dirty="0">
                <a:solidFill>
                  <a:schemeClr val="accent1"/>
                </a:solidFill>
                <a:latin typeface="+mn-lt"/>
              </a:rPr>
              <a:t>higher ratio of "ready leaders" to leadership vacancies</a:t>
            </a:r>
            <a:r>
              <a:rPr lang="en-US" sz="2000" i="0" dirty="0">
                <a:solidFill>
                  <a:srgbClr val="000000"/>
                </a:solidFill>
                <a:latin typeface="+mn-lt"/>
              </a:rPr>
              <a:t>, so that the selection process has a stronger, deeper pool of talent </a:t>
            </a:r>
            <a:endParaRPr lang="en-US" sz="2000" dirty="0">
              <a:solidFill>
                <a:srgbClr val="000000"/>
              </a:solidFill>
              <a:latin typeface="+mn-lt"/>
            </a:endParaRPr>
          </a:p>
        </p:txBody>
      </p:sp>
      <p:sp>
        <p:nvSpPr>
          <p:cNvPr id="3" name="Title 2">
            <a:extLst>
              <a:ext uri="{FF2B5EF4-FFF2-40B4-BE49-F238E27FC236}">
                <a16:creationId xmlns:a16="http://schemas.microsoft.com/office/drawing/2014/main" id="{8DB441A1-CA59-1323-2BEA-20903CBDDD45}"/>
              </a:ext>
            </a:extLst>
          </p:cNvPr>
          <p:cNvSpPr>
            <a:spLocks noGrp="1"/>
          </p:cNvSpPr>
          <p:nvPr>
            <p:ph type="title"/>
          </p:nvPr>
        </p:nvSpPr>
        <p:spPr/>
        <p:txBody>
          <a:bodyPr vert="horz"/>
          <a:lstStyle/>
          <a:p>
            <a:r>
              <a:rPr lang="en-US" dirty="0">
                <a:solidFill>
                  <a:schemeClr val="accent1"/>
                </a:solidFill>
              </a:rPr>
              <a:t>What does success look like? | </a:t>
            </a:r>
            <a:r>
              <a:rPr lang="en-US" dirty="0"/>
              <a:t>Implementation of a vacancy planning cycle should result in…</a:t>
            </a:r>
          </a:p>
        </p:txBody>
      </p:sp>
      <p:pic>
        <p:nvPicPr>
          <p:cNvPr id="18" name="Picture 17">
            <a:extLst>
              <a:ext uri="{FF2B5EF4-FFF2-40B4-BE49-F238E27FC236}">
                <a16:creationId xmlns:a16="http://schemas.microsoft.com/office/drawing/2014/main" id="{2F35F0AD-E82E-7584-2A0A-E63192F32277}"/>
              </a:ext>
            </a:extLst>
          </p:cNvPr>
          <p:cNvPicPr>
            <a:picLocks noChangeAspect="1"/>
          </p:cNvPicPr>
          <p:nvPr/>
        </p:nvPicPr>
        <p:blipFill>
          <a:blip r:embed="rId5"/>
          <a:stretch>
            <a:fillRect/>
          </a:stretch>
        </p:blipFill>
        <p:spPr>
          <a:xfrm>
            <a:off x="861946" y="1466850"/>
            <a:ext cx="4048255" cy="4014705"/>
          </a:xfrm>
          <a:prstGeom prst="rect">
            <a:avLst/>
          </a:prstGeom>
        </p:spPr>
      </p:pic>
    </p:spTree>
    <p:extLst>
      <p:ext uri="{BB962C8B-B14F-4D97-AF65-F5344CB8AC3E}">
        <p14:creationId xmlns:p14="http://schemas.microsoft.com/office/powerpoint/2010/main" val="6657898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BD870C7-CE52-8822-B94B-7D9BA55EEF7C}"/>
              </a:ext>
            </a:extLst>
          </p:cNvPr>
          <p:cNvGraphicFramePr>
            <a:graphicFrameLocks noChangeAspect="1"/>
          </p:cNvGraphicFramePr>
          <p:nvPr>
            <p:custDataLst>
              <p:tags r:id="rId1"/>
            </p:custDataLst>
            <p:extLst>
              <p:ext uri="{D42A27DB-BD31-4B8C-83A1-F6EECF244321}">
                <p14:modId xmlns:p14="http://schemas.microsoft.com/office/powerpoint/2010/main" val="3148429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DBD870C7-CE52-8822-B94B-7D9BA55EEF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B9DD837-DE41-655C-D73F-771474425B28}"/>
              </a:ext>
            </a:extLst>
          </p:cNvPr>
          <p:cNvSpPr>
            <a:spLocks noGrp="1"/>
          </p:cNvSpPr>
          <p:nvPr>
            <p:ph type="body" sz="quarter" idx="11"/>
          </p:nvPr>
        </p:nvSpPr>
        <p:spPr>
          <a:xfrm>
            <a:off x="355600" y="1447799"/>
            <a:ext cx="11125198" cy="4815215"/>
          </a:xfrm>
        </p:spPr>
        <p:txBody>
          <a:bodyPr>
            <a:normAutofit lnSpcReduction="10000"/>
          </a:bodyPr>
          <a:lstStyle/>
          <a:p>
            <a:r>
              <a:rPr lang="en-US" sz="2000" b="1" dirty="0">
                <a:solidFill>
                  <a:schemeClr val="accent1"/>
                </a:solidFill>
              </a:rPr>
              <a:t>Practice | </a:t>
            </a:r>
            <a:r>
              <a:rPr lang="en-US" sz="2000" dirty="0"/>
              <a:t>In the Holdsworth Partnership we go through five cycles of Vacancy Planning, one a year. We know it takes time and repetition to gain skill and deepen the impact of this intentional planning process. Some of these systems are new to our district partners, others are simply revised from what they’re already doing. Each time though we layer on new elements to deepen the conversation and broaden its impact. What’s most important is getting the flywheel turning.</a:t>
            </a:r>
          </a:p>
          <a:p>
            <a:endParaRPr lang="en-US" sz="2000" dirty="0"/>
          </a:p>
          <a:p>
            <a:r>
              <a:rPr lang="en-US" sz="2000" b="1" dirty="0">
                <a:solidFill>
                  <a:schemeClr val="accent1"/>
                </a:solidFill>
              </a:rPr>
              <a:t>Expand the circle | </a:t>
            </a:r>
            <a:r>
              <a:rPr lang="en-US" sz="2000" dirty="0"/>
              <a:t>You may have gone through these exercises by yourself as a district leader, among principal supervisors, or within your human resources or professional development department. The power of these conversations comes in crossing departmental lines, gathering data up and down the organization and building a culture of growth and development through transparency and inclusion.</a:t>
            </a:r>
          </a:p>
          <a:p>
            <a:endParaRPr lang="en-US" sz="2000" dirty="0"/>
          </a:p>
          <a:p>
            <a:r>
              <a:rPr lang="en-US" sz="2000" b="1" dirty="0">
                <a:solidFill>
                  <a:schemeClr val="accent1"/>
                </a:solidFill>
              </a:rPr>
              <a:t>Look beyond the principalship | </a:t>
            </a:r>
            <a:r>
              <a:rPr lang="en-US" sz="2000" dirty="0"/>
              <a:t>Districts quickly realize that if they’re struggling to place principals (particularly amid the high turnover of recent years) they likely need to invest in leaders further and further upstream. We recommend starting with the principalship, but planning for AP and Teacher Leader vacancies carries tremendous power and extends the culture of growth to the entire district</a:t>
            </a:r>
          </a:p>
        </p:txBody>
      </p:sp>
      <p:sp>
        <p:nvSpPr>
          <p:cNvPr id="3" name="Title 2">
            <a:extLst>
              <a:ext uri="{FF2B5EF4-FFF2-40B4-BE49-F238E27FC236}">
                <a16:creationId xmlns:a16="http://schemas.microsoft.com/office/drawing/2014/main" id="{2D274414-7AD4-1AAD-5E6D-ABA9D710F45A}"/>
              </a:ext>
            </a:extLst>
          </p:cNvPr>
          <p:cNvSpPr>
            <a:spLocks noGrp="1"/>
          </p:cNvSpPr>
          <p:nvPr>
            <p:ph type="title"/>
          </p:nvPr>
        </p:nvSpPr>
        <p:spPr/>
        <p:txBody>
          <a:bodyPr vert="horz"/>
          <a:lstStyle/>
          <a:p>
            <a:r>
              <a:rPr lang="en-US" dirty="0"/>
              <a:t>Where do we go next?</a:t>
            </a:r>
          </a:p>
        </p:txBody>
      </p:sp>
      <p:sp>
        <p:nvSpPr>
          <p:cNvPr id="4" name="Text Placeholder 3">
            <a:extLst>
              <a:ext uri="{FF2B5EF4-FFF2-40B4-BE49-F238E27FC236}">
                <a16:creationId xmlns:a16="http://schemas.microsoft.com/office/drawing/2014/main" id="{84BCFD39-5327-3D30-7F87-D7C1FABBBE36}"/>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6950910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2416EB2-EDB9-A3F8-995F-DED1F9142A3C}"/>
              </a:ext>
            </a:extLst>
          </p:cNvPr>
          <p:cNvGraphicFramePr>
            <a:graphicFrameLocks noChangeAspect="1"/>
          </p:cNvGraphicFramePr>
          <p:nvPr>
            <p:custDataLst>
              <p:tags r:id="rId1"/>
            </p:custDataLst>
            <p:extLst>
              <p:ext uri="{D42A27DB-BD31-4B8C-83A1-F6EECF244321}">
                <p14:modId xmlns:p14="http://schemas.microsoft.com/office/powerpoint/2010/main" val="14285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82416EB2-EDB9-A3F8-995F-DED1F9142A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6AC8264-5B2E-1F2E-40CB-ABA3E903A26D}"/>
              </a:ext>
            </a:extLst>
          </p:cNvPr>
          <p:cNvSpPr>
            <a:spLocks noGrp="1"/>
          </p:cNvSpPr>
          <p:nvPr>
            <p:ph type="title"/>
          </p:nvPr>
        </p:nvSpPr>
        <p:spPr/>
        <p:txBody>
          <a:bodyPr vert="horz"/>
          <a:lstStyle/>
          <a:p>
            <a:r>
              <a:rPr lang="en-US" dirty="0"/>
              <a:t>Visit our website for more ideas about how to develop leadership and recommended resources</a:t>
            </a:r>
          </a:p>
        </p:txBody>
      </p:sp>
      <p:pic>
        <p:nvPicPr>
          <p:cNvPr id="19" name="Picture 18">
            <a:extLst>
              <a:ext uri="{FF2B5EF4-FFF2-40B4-BE49-F238E27FC236}">
                <a16:creationId xmlns:a16="http://schemas.microsoft.com/office/drawing/2014/main" id="{90C391EC-0CEE-ED00-6BD3-51AAC63907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45056" y="1770583"/>
            <a:ext cx="2346281" cy="2346281"/>
          </a:xfrm>
          <a:prstGeom prst="rect">
            <a:avLst/>
          </a:prstGeom>
        </p:spPr>
      </p:pic>
      <p:pic>
        <p:nvPicPr>
          <p:cNvPr id="20" name="Picture 19">
            <a:extLst>
              <a:ext uri="{FF2B5EF4-FFF2-40B4-BE49-F238E27FC236}">
                <a16:creationId xmlns:a16="http://schemas.microsoft.com/office/drawing/2014/main" id="{EE6A5E36-0A90-3BE2-8F1A-C512D1F562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03847" y="5154021"/>
            <a:ext cx="1028700" cy="1028700"/>
          </a:xfrm>
          <a:prstGeom prst="rect">
            <a:avLst/>
          </a:prstGeom>
        </p:spPr>
      </p:pic>
      <p:sp>
        <p:nvSpPr>
          <p:cNvPr id="21" name="TextBox 20">
            <a:extLst>
              <a:ext uri="{FF2B5EF4-FFF2-40B4-BE49-F238E27FC236}">
                <a16:creationId xmlns:a16="http://schemas.microsoft.com/office/drawing/2014/main" id="{0B2FC4A8-F451-32BB-B80F-8A391BDD8FE9}"/>
              </a:ext>
            </a:extLst>
          </p:cNvPr>
          <p:cNvSpPr txBox="1"/>
          <p:nvPr/>
        </p:nvSpPr>
        <p:spPr>
          <a:xfrm>
            <a:off x="1233463" y="4276858"/>
            <a:ext cx="9369469" cy="584775"/>
          </a:xfrm>
          <a:prstGeom prst="rect">
            <a:avLst/>
          </a:prstGeom>
          <a:noFill/>
        </p:spPr>
        <p:txBody>
          <a:bodyPr wrap="square" rtlCol="0">
            <a:spAutoFit/>
          </a:bodyPr>
          <a:lstStyle/>
          <a:p>
            <a:pPr algn="ctr"/>
            <a:r>
              <a:rPr lang="en-US" sz="3200" dirty="0">
                <a:hlinkClick r:id="rId7"/>
              </a:rPr>
              <a:t>holdsworthcenter.org</a:t>
            </a:r>
            <a:endParaRPr lang="en-US" sz="3200" dirty="0"/>
          </a:p>
        </p:txBody>
      </p:sp>
    </p:spTree>
    <p:extLst>
      <p:ext uri="{BB962C8B-B14F-4D97-AF65-F5344CB8AC3E}">
        <p14:creationId xmlns:p14="http://schemas.microsoft.com/office/powerpoint/2010/main" val="1883514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18EB5E-C9F5-7518-F5E8-7BF13D3D5333}"/>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816AC69A-6F53-7AD7-0B93-F85479E3EB2D}"/>
              </a:ext>
            </a:extLst>
          </p:cNvPr>
          <p:cNvSpPr>
            <a:spLocks noGrp="1"/>
          </p:cNvSpPr>
          <p:nvPr>
            <p:ph type="body" sz="quarter" idx="11"/>
          </p:nvPr>
        </p:nvSpPr>
        <p:spPr>
          <a:xfrm>
            <a:off x="711200" y="1447801"/>
            <a:ext cx="6197600" cy="2308324"/>
          </a:xfrm>
        </p:spPr>
        <p:txBody>
          <a:bodyPr/>
          <a:lstStyle/>
          <a:p>
            <a:r>
              <a:rPr lang="en-US" dirty="0"/>
              <a:t>Introduction to the Vacancy Planning Cycle</a:t>
            </a:r>
          </a:p>
        </p:txBody>
      </p:sp>
      <p:sp>
        <p:nvSpPr>
          <p:cNvPr id="4" name="Content Placeholder 3">
            <a:extLst>
              <a:ext uri="{FF2B5EF4-FFF2-40B4-BE49-F238E27FC236}">
                <a16:creationId xmlns:a16="http://schemas.microsoft.com/office/drawing/2014/main" id="{1649EA9E-16F8-6168-11BC-99C84F29DCC3}"/>
              </a:ext>
            </a:extLst>
          </p:cNvPr>
          <p:cNvSpPr>
            <a:spLocks noGrp="1"/>
          </p:cNvSpPr>
          <p:nvPr>
            <p:ph sz="quarter" idx="13"/>
          </p:nvPr>
        </p:nvSpPr>
        <p:spPr/>
        <p:txBody>
          <a:bodyPr/>
          <a:lstStyle/>
          <a:p>
            <a:r>
              <a:rPr lang="en-US" dirty="0"/>
              <a:t>1</a:t>
            </a:r>
          </a:p>
        </p:txBody>
      </p:sp>
      <p:sp>
        <p:nvSpPr>
          <p:cNvPr id="6" name="Rectangle 5">
            <a:extLst>
              <a:ext uri="{FF2B5EF4-FFF2-40B4-BE49-F238E27FC236}">
                <a16:creationId xmlns:a16="http://schemas.microsoft.com/office/drawing/2014/main" id="{7076AC9D-2144-0B72-AADF-FCF9A9DDC3D7}"/>
              </a:ext>
            </a:extLst>
          </p:cNvPr>
          <p:cNvSpPr/>
          <p:nvPr/>
        </p:nvSpPr>
        <p:spPr>
          <a:xfrm>
            <a:off x="2466714" y="3002435"/>
            <a:ext cx="5661285" cy="2660627"/>
          </a:xfrm>
          <a:prstGeom prst="rect">
            <a:avLst/>
          </a:prstGeom>
          <a:solidFill>
            <a:schemeClr val="tx2">
              <a:alpha val="84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225182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28AA937-B992-5121-9D82-58F8013F1A58}"/>
              </a:ext>
            </a:extLst>
          </p:cNvPr>
          <p:cNvGraphicFramePr>
            <a:graphicFrameLocks noChangeAspect="1"/>
          </p:cNvGraphicFramePr>
          <p:nvPr>
            <p:custDataLst>
              <p:tags r:id="rId1"/>
            </p:custDataLst>
            <p:extLst>
              <p:ext uri="{D42A27DB-BD31-4B8C-83A1-F6EECF244321}">
                <p14:modId xmlns:p14="http://schemas.microsoft.com/office/powerpoint/2010/main" val="264436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5" name="think-cell data - do not delete" hidden="1">
                        <a:extLst>
                          <a:ext uri="{FF2B5EF4-FFF2-40B4-BE49-F238E27FC236}">
                            <a16:creationId xmlns:a16="http://schemas.microsoft.com/office/drawing/2014/main" id="{E28AA937-B992-5121-9D82-58F8013F1A5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36AFC55-55D4-DD03-CF52-E202573D5F13}"/>
              </a:ext>
            </a:extLst>
          </p:cNvPr>
          <p:cNvSpPr>
            <a:spLocks noGrp="1"/>
          </p:cNvSpPr>
          <p:nvPr>
            <p:ph type="title"/>
          </p:nvPr>
        </p:nvSpPr>
        <p:spPr/>
        <p:txBody>
          <a:bodyPr vert="horz"/>
          <a:lstStyle/>
          <a:p>
            <a:r>
              <a:rPr lang="en-US" dirty="0"/>
              <a:t>To complete the Vacancy Planning Cycle a school district must engage in three primary activities</a:t>
            </a:r>
          </a:p>
        </p:txBody>
      </p:sp>
      <p:grpSp>
        <p:nvGrpSpPr>
          <p:cNvPr id="26" name="Group 25">
            <a:extLst>
              <a:ext uri="{FF2B5EF4-FFF2-40B4-BE49-F238E27FC236}">
                <a16:creationId xmlns:a16="http://schemas.microsoft.com/office/drawing/2014/main" id="{CB4F6B1F-5C5A-234F-B226-67B04CC67539}"/>
              </a:ext>
            </a:extLst>
          </p:cNvPr>
          <p:cNvGrpSpPr/>
          <p:nvPr/>
        </p:nvGrpSpPr>
        <p:grpSpPr>
          <a:xfrm>
            <a:off x="537236" y="823647"/>
            <a:ext cx="4882489" cy="4786578"/>
            <a:chOff x="541641" y="571912"/>
            <a:chExt cx="5698201" cy="5586266"/>
          </a:xfrm>
        </p:grpSpPr>
        <p:sp>
          <p:nvSpPr>
            <p:cNvPr id="17" name="Freeform 3">
              <a:extLst>
                <a:ext uri="{FF2B5EF4-FFF2-40B4-BE49-F238E27FC236}">
                  <a16:creationId xmlns:a16="http://schemas.microsoft.com/office/drawing/2014/main" id="{7C08F1B8-9D48-A6ED-2836-1C38126151B6}"/>
                </a:ext>
              </a:extLst>
            </p:cNvPr>
            <p:cNvSpPr>
              <a:spLocks/>
            </p:cNvSpPr>
            <p:nvPr>
              <p:custDataLst>
                <p:tags r:id="rId2"/>
              </p:custDataLst>
            </p:nvPr>
          </p:nvSpPr>
          <p:spPr bwMode="auto">
            <a:xfrm rot="2315660">
              <a:off x="1295060" y="571912"/>
              <a:ext cx="2062496" cy="4156911"/>
            </a:xfrm>
            <a:custGeom>
              <a:avLst/>
              <a:gdLst>
                <a:gd name="T0" fmla="*/ 390 w 534"/>
                <a:gd name="T1" fmla="*/ 860 h 1099"/>
                <a:gd name="T2" fmla="*/ 375 w 534"/>
                <a:gd name="T3" fmla="*/ 840 h 1099"/>
                <a:gd name="T4" fmla="*/ 361 w 534"/>
                <a:gd name="T5" fmla="*/ 819 h 1099"/>
                <a:gd name="T6" fmla="*/ 349 w 534"/>
                <a:gd name="T7" fmla="*/ 797 h 1099"/>
                <a:gd name="T8" fmla="*/ 340 w 534"/>
                <a:gd name="T9" fmla="*/ 774 h 1099"/>
                <a:gd name="T10" fmla="*/ 332 w 534"/>
                <a:gd name="T11" fmla="*/ 751 h 1099"/>
                <a:gd name="T12" fmla="*/ 326 w 534"/>
                <a:gd name="T13" fmla="*/ 727 h 1099"/>
                <a:gd name="T14" fmla="*/ 321 w 534"/>
                <a:gd name="T15" fmla="*/ 702 h 1099"/>
                <a:gd name="T16" fmla="*/ 319 w 534"/>
                <a:gd name="T17" fmla="*/ 678 h 1099"/>
                <a:gd name="T18" fmla="*/ 319 w 534"/>
                <a:gd name="T19" fmla="*/ 653 h 1099"/>
                <a:gd name="T20" fmla="*/ 320 w 534"/>
                <a:gd name="T21" fmla="*/ 628 h 1099"/>
                <a:gd name="T22" fmla="*/ 324 w 534"/>
                <a:gd name="T23" fmla="*/ 603 h 1099"/>
                <a:gd name="T24" fmla="*/ 330 w 534"/>
                <a:gd name="T25" fmla="*/ 579 h 1099"/>
                <a:gd name="T26" fmla="*/ 337 w 534"/>
                <a:gd name="T27" fmla="*/ 554 h 1099"/>
                <a:gd name="T28" fmla="*/ 347 w 534"/>
                <a:gd name="T29" fmla="*/ 530 h 1099"/>
                <a:gd name="T30" fmla="*/ 359 w 534"/>
                <a:gd name="T31" fmla="*/ 507 h 1099"/>
                <a:gd name="T32" fmla="*/ 371 w 534"/>
                <a:gd name="T33" fmla="*/ 488 h 1099"/>
                <a:gd name="T34" fmla="*/ 383 w 534"/>
                <a:gd name="T35" fmla="*/ 472 h 1099"/>
                <a:gd name="T36" fmla="*/ 395 w 534"/>
                <a:gd name="T37" fmla="*/ 457 h 1099"/>
                <a:gd name="T38" fmla="*/ 408 w 534"/>
                <a:gd name="T39" fmla="*/ 443 h 1099"/>
                <a:gd name="T40" fmla="*/ 421 w 534"/>
                <a:gd name="T41" fmla="*/ 430 h 1099"/>
                <a:gd name="T42" fmla="*/ 435 w 534"/>
                <a:gd name="T43" fmla="*/ 418 h 1099"/>
                <a:gd name="T44" fmla="*/ 450 w 534"/>
                <a:gd name="T45" fmla="*/ 406 h 1099"/>
                <a:gd name="T46" fmla="*/ 465 w 534"/>
                <a:gd name="T47" fmla="*/ 396 h 1099"/>
                <a:gd name="T48" fmla="*/ 504 w 534"/>
                <a:gd name="T49" fmla="*/ 454 h 1099"/>
                <a:gd name="T50" fmla="*/ 329 w 534"/>
                <a:gd name="T51" fmla="*/ 0 h 1099"/>
                <a:gd name="T52" fmla="*/ 344 w 534"/>
                <a:gd name="T53" fmla="*/ 89 h 1099"/>
                <a:gd name="T54" fmla="*/ 305 w 534"/>
                <a:gd name="T55" fmla="*/ 111 h 1099"/>
                <a:gd name="T56" fmla="*/ 267 w 534"/>
                <a:gd name="T57" fmla="*/ 136 h 1099"/>
                <a:gd name="T58" fmla="*/ 231 w 534"/>
                <a:gd name="T59" fmla="*/ 164 h 1099"/>
                <a:gd name="T60" fmla="*/ 197 w 534"/>
                <a:gd name="T61" fmla="*/ 196 h 1099"/>
                <a:gd name="T62" fmla="*/ 165 w 534"/>
                <a:gd name="T63" fmla="*/ 229 h 1099"/>
                <a:gd name="T64" fmla="*/ 134 w 534"/>
                <a:gd name="T65" fmla="*/ 265 h 1099"/>
                <a:gd name="T66" fmla="*/ 107 w 534"/>
                <a:gd name="T67" fmla="*/ 303 h 1099"/>
                <a:gd name="T68" fmla="*/ 80 w 534"/>
                <a:gd name="T69" fmla="*/ 347 h 1099"/>
                <a:gd name="T70" fmla="*/ 55 w 534"/>
                <a:gd name="T71" fmla="*/ 395 h 1099"/>
                <a:gd name="T72" fmla="*/ 35 w 534"/>
                <a:gd name="T73" fmla="*/ 445 h 1099"/>
                <a:gd name="T74" fmla="*/ 20 w 534"/>
                <a:gd name="T75" fmla="*/ 496 h 1099"/>
                <a:gd name="T76" fmla="*/ 9 w 534"/>
                <a:gd name="T77" fmla="*/ 547 h 1099"/>
                <a:gd name="T78" fmla="*/ 2 w 534"/>
                <a:gd name="T79" fmla="*/ 599 h 1099"/>
                <a:gd name="T80" fmla="*/ 0 w 534"/>
                <a:gd name="T81" fmla="*/ 651 h 1099"/>
                <a:gd name="T82" fmla="*/ 2 w 534"/>
                <a:gd name="T83" fmla="*/ 702 h 1099"/>
                <a:gd name="T84" fmla="*/ 9 w 534"/>
                <a:gd name="T85" fmla="*/ 754 h 1099"/>
                <a:gd name="T86" fmla="*/ 19 w 534"/>
                <a:gd name="T87" fmla="*/ 804 h 1099"/>
                <a:gd name="T88" fmla="*/ 34 w 534"/>
                <a:gd name="T89" fmla="*/ 854 h 1099"/>
                <a:gd name="T90" fmla="*/ 52 w 534"/>
                <a:gd name="T91" fmla="*/ 903 h 1099"/>
                <a:gd name="T92" fmla="*/ 75 w 534"/>
                <a:gd name="T93" fmla="*/ 950 h 1099"/>
                <a:gd name="T94" fmla="*/ 102 w 534"/>
                <a:gd name="T95" fmla="*/ 995 h 1099"/>
                <a:gd name="T96" fmla="*/ 132 w 534"/>
                <a:gd name="T97" fmla="*/ 1039 h 1099"/>
                <a:gd name="T98" fmla="*/ 166 w 534"/>
                <a:gd name="T99" fmla="*/ 1080 h 1099"/>
                <a:gd name="T100" fmla="*/ 230 w 534"/>
                <a:gd name="T101" fmla="*/ 935 h 1099"/>
                <a:gd name="T102" fmla="*/ 398 w 534"/>
                <a:gd name="T103" fmla="*/ 870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4" h="1099">
                  <a:moveTo>
                    <a:pt x="398" y="870"/>
                  </a:moveTo>
                  <a:lnTo>
                    <a:pt x="390" y="860"/>
                  </a:lnTo>
                  <a:lnTo>
                    <a:pt x="382" y="850"/>
                  </a:lnTo>
                  <a:lnTo>
                    <a:pt x="375" y="840"/>
                  </a:lnTo>
                  <a:lnTo>
                    <a:pt x="368" y="830"/>
                  </a:lnTo>
                  <a:lnTo>
                    <a:pt x="361" y="819"/>
                  </a:lnTo>
                  <a:lnTo>
                    <a:pt x="355" y="808"/>
                  </a:lnTo>
                  <a:lnTo>
                    <a:pt x="349" y="797"/>
                  </a:lnTo>
                  <a:lnTo>
                    <a:pt x="344" y="786"/>
                  </a:lnTo>
                  <a:lnTo>
                    <a:pt x="340" y="774"/>
                  </a:lnTo>
                  <a:lnTo>
                    <a:pt x="335" y="763"/>
                  </a:lnTo>
                  <a:lnTo>
                    <a:pt x="332" y="751"/>
                  </a:lnTo>
                  <a:lnTo>
                    <a:pt x="328" y="739"/>
                  </a:lnTo>
                  <a:lnTo>
                    <a:pt x="326" y="727"/>
                  </a:lnTo>
                  <a:lnTo>
                    <a:pt x="323" y="715"/>
                  </a:lnTo>
                  <a:lnTo>
                    <a:pt x="321" y="702"/>
                  </a:lnTo>
                  <a:lnTo>
                    <a:pt x="320" y="690"/>
                  </a:lnTo>
                  <a:lnTo>
                    <a:pt x="319" y="678"/>
                  </a:lnTo>
                  <a:lnTo>
                    <a:pt x="319" y="665"/>
                  </a:lnTo>
                  <a:lnTo>
                    <a:pt x="319" y="653"/>
                  </a:lnTo>
                  <a:lnTo>
                    <a:pt x="319" y="640"/>
                  </a:lnTo>
                  <a:lnTo>
                    <a:pt x="320" y="628"/>
                  </a:lnTo>
                  <a:lnTo>
                    <a:pt x="322" y="616"/>
                  </a:lnTo>
                  <a:lnTo>
                    <a:pt x="324" y="603"/>
                  </a:lnTo>
                  <a:lnTo>
                    <a:pt x="327" y="591"/>
                  </a:lnTo>
                  <a:lnTo>
                    <a:pt x="330" y="579"/>
                  </a:lnTo>
                  <a:lnTo>
                    <a:pt x="333" y="566"/>
                  </a:lnTo>
                  <a:lnTo>
                    <a:pt x="337" y="554"/>
                  </a:lnTo>
                  <a:lnTo>
                    <a:pt x="342" y="542"/>
                  </a:lnTo>
                  <a:lnTo>
                    <a:pt x="347" y="530"/>
                  </a:lnTo>
                  <a:lnTo>
                    <a:pt x="353" y="519"/>
                  </a:lnTo>
                  <a:lnTo>
                    <a:pt x="359" y="507"/>
                  </a:lnTo>
                  <a:lnTo>
                    <a:pt x="366" y="496"/>
                  </a:lnTo>
                  <a:lnTo>
                    <a:pt x="371" y="488"/>
                  </a:lnTo>
                  <a:lnTo>
                    <a:pt x="377" y="480"/>
                  </a:lnTo>
                  <a:lnTo>
                    <a:pt x="383" y="472"/>
                  </a:lnTo>
                  <a:lnTo>
                    <a:pt x="389" y="464"/>
                  </a:lnTo>
                  <a:lnTo>
                    <a:pt x="395" y="457"/>
                  </a:lnTo>
                  <a:lnTo>
                    <a:pt x="401" y="450"/>
                  </a:lnTo>
                  <a:lnTo>
                    <a:pt x="408" y="443"/>
                  </a:lnTo>
                  <a:lnTo>
                    <a:pt x="414" y="436"/>
                  </a:lnTo>
                  <a:lnTo>
                    <a:pt x="421" y="430"/>
                  </a:lnTo>
                  <a:lnTo>
                    <a:pt x="428" y="424"/>
                  </a:lnTo>
                  <a:lnTo>
                    <a:pt x="435" y="418"/>
                  </a:lnTo>
                  <a:lnTo>
                    <a:pt x="443" y="412"/>
                  </a:lnTo>
                  <a:lnTo>
                    <a:pt x="450" y="406"/>
                  </a:lnTo>
                  <a:lnTo>
                    <a:pt x="458" y="401"/>
                  </a:lnTo>
                  <a:lnTo>
                    <a:pt x="465" y="396"/>
                  </a:lnTo>
                  <a:lnTo>
                    <a:pt x="473" y="391"/>
                  </a:lnTo>
                  <a:lnTo>
                    <a:pt x="504" y="454"/>
                  </a:lnTo>
                  <a:lnTo>
                    <a:pt x="534" y="185"/>
                  </a:lnTo>
                  <a:lnTo>
                    <a:pt x="329" y="0"/>
                  </a:lnTo>
                  <a:lnTo>
                    <a:pt x="363" y="79"/>
                  </a:lnTo>
                  <a:lnTo>
                    <a:pt x="344" y="89"/>
                  </a:lnTo>
                  <a:lnTo>
                    <a:pt x="324" y="99"/>
                  </a:lnTo>
                  <a:lnTo>
                    <a:pt x="305" y="111"/>
                  </a:lnTo>
                  <a:lnTo>
                    <a:pt x="286" y="123"/>
                  </a:lnTo>
                  <a:lnTo>
                    <a:pt x="267" y="136"/>
                  </a:lnTo>
                  <a:lnTo>
                    <a:pt x="249" y="150"/>
                  </a:lnTo>
                  <a:lnTo>
                    <a:pt x="231" y="164"/>
                  </a:lnTo>
                  <a:lnTo>
                    <a:pt x="214" y="180"/>
                  </a:lnTo>
                  <a:lnTo>
                    <a:pt x="197" y="196"/>
                  </a:lnTo>
                  <a:lnTo>
                    <a:pt x="180" y="212"/>
                  </a:lnTo>
                  <a:lnTo>
                    <a:pt x="165" y="229"/>
                  </a:lnTo>
                  <a:lnTo>
                    <a:pt x="149" y="247"/>
                  </a:lnTo>
                  <a:lnTo>
                    <a:pt x="134" y="265"/>
                  </a:lnTo>
                  <a:lnTo>
                    <a:pt x="120" y="284"/>
                  </a:lnTo>
                  <a:lnTo>
                    <a:pt x="107" y="303"/>
                  </a:lnTo>
                  <a:lnTo>
                    <a:pt x="94" y="323"/>
                  </a:lnTo>
                  <a:lnTo>
                    <a:pt x="80" y="347"/>
                  </a:lnTo>
                  <a:lnTo>
                    <a:pt x="67" y="371"/>
                  </a:lnTo>
                  <a:lnTo>
                    <a:pt x="55" y="395"/>
                  </a:lnTo>
                  <a:lnTo>
                    <a:pt x="45" y="420"/>
                  </a:lnTo>
                  <a:lnTo>
                    <a:pt x="35" y="445"/>
                  </a:lnTo>
                  <a:lnTo>
                    <a:pt x="27" y="470"/>
                  </a:lnTo>
                  <a:lnTo>
                    <a:pt x="20" y="496"/>
                  </a:lnTo>
                  <a:lnTo>
                    <a:pt x="14" y="521"/>
                  </a:lnTo>
                  <a:lnTo>
                    <a:pt x="9" y="547"/>
                  </a:lnTo>
                  <a:lnTo>
                    <a:pt x="5" y="573"/>
                  </a:lnTo>
                  <a:lnTo>
                    <a:pt x="2" y="599"/>
                  </a:lnTo>
                  <a:lnTo>
                    <a:pt x="1" y="625"/>
                  </a:lnTo>
                  <a:lnTo>
                    <a:pt x="0" y="651"/>
                  </a:lnTo>
                  <a:lnTo>
                    <a:pt x="1" y="676"/>
                  </a:lnTo>
                  <a:lnTo>
                    <a:pt x="2" y="702"/>
                  </a:lnTo>
                  <a:lnTo>
                    <a:pt x="5" y="728"/>
                  </a:lnTo>
                  <a:lnTo>
                    <a:pt x="9" y="754"/>
                  </a:lnTo>
                  <a:lnTo>
                    <a:pt x="13" y="779"/>
                  </a:lnTo>
                  <a:lnTo>
                    <a:pt x="19" y="804"/>
                  </a:lnTo>
                  <a:lnTo>
                    <a:pt x="26" y="830"/>
                  </a:lnTo>
                  <a:lnTo>
                    <a:pt x="34" y="854"/>
                  </a:lnTo>
                  <a:lnTo>
                    <a:pt x="43" y="879"/>
                  </a:lnTo>
                  <a:lnTo>
                    <a:pt x="52" y="903"/>
                  </a:lnTo>
                  <a:lnTo>
                    <a:pt x="63" y="927"/>
                  </a:lnTo>
                  <a:lnTo>
                    <a:pt x="75" y="950"/>
                  </a:lnTo>
                  <a:lnTo>
                    <a:pt x="88" y="973"/>
                  </a:lnTo>
                  <a:lnTo>
                    <a:pt x="102" y="995"/>
                  </a:lnTo>
                  <a:lnTo>
                    <a:pt x="116" y="1017"/>
                  </a:lnTo>
                  <a:lnTo>
                    <a:pt x="132" y="1039"/>
                  </a:lnTo>
                  <a:lnTo>
                    <a:pt x="149" y="1060"/>
                  </a:lnTo>
                  <a:lnTo>
                    <a:pt x="166" y="1080"/>
                  </a:lnTo>
                  <a:lnTo>
                    <a:pt x="185" y="1099"/>
                  </a:lnTo>
                  <a:lnTo>
                    <a:pt x="230" y="935"/>
                  </a:lnTo>
                  <a:lnTo>
                    <a:pt x="398" y="870"/>
                  </a:lnTo>
                  <a:lnTo>
                    <a:pt x="398" y="870"/>
                  </a:lnTo>
                  <a:close/>
                </a:path>
              </a:pathLst>
            </a:custGeom>
            <a:solidFill>
              <a:schemeClr val="accent1"/>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9" name="Freeform 5">
              <a:extLst>
                <a:ext uri="{FF2B5EF4-FFF2-40B4-BE49-F238E27FC236}">
                  <a16:creationId xmlns:a16="http://schemas.microsoft.com/office/drawing/2014/main" id="{D4B62A1D-35DD-4B45-11DA-78BCD5AAF0E6}"/>
                </a:ext>
              </a:extLst>
            </p:cNvPr>
            <p:cNvSpPr>
              <a:spLocks/>
            </p:cNvSpPr>
            <p:nvPr>
              <p:custDataLst>
                <p:tags r:id="rId3"/>
              </p:custDataLst>
            </p:nvPr>
          </p:nvSpPr>
          <p:spPr bwMode="auto">
            <a:xfrm rot="2315660">
              <a:off x="541641" y="4153153"/>
              <a:ext cx="4022822" cy="2005025"/>
            </a:xfrm>
            <a:custGeom>
              <a:avLst/>
              <a:gdLst>
                <a:gd name="T0" fmla="*/ 730 w 1037"/>
                <a:gd name="T1" fmla="*/ 11 h 526"/>
                <a:gd name="T2" fmla="*/ 719 w 1037"/>
                <a:gd name="T3" fmla="*/ 34 h 526"/>
                <a:gd name="T4" fmla="*/ 707 w 1037"/>
                <a:gd name="T5" fmla="*/ 56 h 526"/>
                <a:gd name="T6" fmla="*/ 693 w 1037"/>
                <a:gd name="T7" fmla="*/ 77 h 526"/>
                <a:gd name="T8" fmla="*/ 678 w 1037"/>
                <a:gd name="T9" fmla="*/ 96 h 526"/>
                <a:gd name="T10" fmla="*/ 661 w 1037"/>
                <a:gd name="T11" fmla="*/ 114 h 526"/>
                <a:gd name="T12" fmla="*/ 642 w 1037"/>
                <a:gd name="T13" fmla="*/ 131 h 526"/>
                <a:gd name="T14" fmla="*/ 623 w 1037"/>
                <a:gd name="T15" fmla="*/ 146 h 526"/>
                <a:gd name="T16" fmla="*/ 602 w 1037"/>
                <a:gd name="T17" fmla="*/ 160 h 526"/>
                <a:gd name="T18" fmla="*/ 580 w 1037"/>
                <a:gd name="T19" fmla="*/ 172 h 526"/>
                <a:gd name="T20" fmla="*/ 558 w 1037"/>
                <a:gd name="T21" fmla="*/ 182 h 526"/>
                <a:gd name="T22" fmla="*/ 534 w 1037"/>
                <a:gd name="T23" fmla="*/ 190 h 526"/>
                <a:gd name="T24" fmla="*/ 510 w 1037"/>
                <a:gd name="T25" fmla="*/ 197 h 526"/>
                <a:gd name="T26" fmla="*/ 484 w 1037"/>
                <a:gd name="T27" fmla="*/ 201 h 526"/>
                <a:gd name="T28" fmla="*/ 459 w 1037"/>
                <a:gd name="T29" fmla="*/ 204 h 526"/>
                <a:gd name="T30" fmla="*/ 432 w 1037"/>
                <a:gd name="T31" fmla="*/ 204 h 526"/>
                <a:gd name="T32" fmla="*/ 410 w 1037"/>
                <a:gd name="T33" fmla="*/ 203 h 526"/>
                <a:gd name="T34" fmla="*/ 391 w 1037"/>
                <a:gd name="T35" fmla="*/ 200 h 526"/>
                <a:gd name="T36" fmla="*/ 372 w 1037"/>
                <a:gd name="T37" fmla="*/ 196 h 526"/>
                <a:gd name="T38" fmla="*/ 353 w 1037"/>
                <a:gd name="T39" fmla="*/ 192 h 526"/>
                <a:gd name="T40" fmla="*/ 335 w 1037"/>
                <a:gd name="T41" fmla="*/ 186 h 526"/>
                <a:gd name="T42" fmla="*/ 318 w 1037"/>
                <a:gd name="T43" fmla="*/ 179 h 526"/>
                <a:gd name="T44" fmla="*/ 301 w 1037"/>
                <a:gd name="T45" fmla="*/ 171 h 526"/>
                <a:gd name="T46" fmla="*/ 285 w 1037"/>
                <a:gd name="T47" fmla="*/ 163 h 526"/>
                <a:gd name="T48" fmla="*/ 318 w 1037"/>
                <a:gd name="T49" fmla="*/ 101 h 526"/>
                <a:gd name="T50" fmla="*/ 0 w 1037"/>
                <a:gd name="T51" fmla="*/ 469 h 526"/>
                <a:gd name="T52" fmla="*/ 71 w 1037"/>
                <a:gd name="T53" fmla="*/ 414 h 526"/>
                <a:gd name="T54" fmla="*/ 108 w 1037"/>
                <a:gd name="T55" fmla="*/ 438 h 526"/>
                <a:gd name="T56" fmla="*/ 148 w 1037"/>
                <a:gd name="T57" fmla="*/ 460 h 526"/>
                <a:gd name="T58" fmla="*/ 190 w 1037"/>
                <a:gd name="T59" fmla="*/ 478 h 526"/>
                <a:gd name="T60" fmla="*/ 234 w 1037"/>
                <a:gd name="T61" fmla="*/ 494 h 526"/>
                <a:gd name="T62" fmla="*/ 279 w 1037"/>
                <a:gd name="T63" fmla="*/ 507 h 526"/>
                <a:gd name="T64" fmla="*/ 325 w 1037"/>
                <a:gd name="T65" fmla="*/ 516 h 526"/>
                <a:gd name="T66" fmla="*/ 371 w 1037"/>
                <a:gd name="T67" fmla="*/ 523 h 526"/>
                <a:gd name="T68" fmla="*/ 422 w 1037"/>
                <a:gd name="T69" fmla="*/ 526 h 526"/>
                <a:gd name="T70" fmla="*/ 476 w 1037"/>
                <a:gd name="T71" fmla="*/ 525 h 526"/>
                <a:gd name="T72" fmla="*/ 530 w 1037"/>
                <a:gd name="T73" fmla="*/ 519 h 526"/>
                <a:gd name="T74" fmla="*/ 582 w 1037"/>
                <a:gd name="T75" fmla="*/ 509 h 526"/>
                <a:gd name="T76" fmla="*/ 632 w 1037"/>
                <a:gd name="T77" fmla="*/ 495 h 526"/>
                <a:gd name="T78" fmla="*/ 681 w 1037"/>
                <a:gd name="T79" fmla="*/ 476 h 526"/>
                <a:gd name="T80" fmla="*/ 728 w 1037"/>
                <a:gd name="T81" fmla="*/ 454 h 526"/>
                <a:gd name="T82" fmla="*/ 773 w 1037"/>
                <a:gd name="T83" fmla="*/ 428 h 526"/>
                <a:gd name="T84" fmla="*/ 815 w 1037"/>
                <a:gd name="T85" fmla="*/ 398 h 526"/>
                <a:gd name="T86" fmla="*/ 855 w 1037"/>
                <a:gd name="T87" fmla="*/ 365 h 526"/>
                <a:gd name="T88" fmla="*/ 892 w 1037"/>
                <a:gd name="T89" fmla="*/ 329 h 526"/>
                <a:gd name="T90" fmla="*/ 926 w 1037"/>
                <a:gd name="T91" fmla="*/ 289 h 526"/>
                <a:gd name="T92" fmla="*/ 957 w 1037"/>
                <a:gd name="T93" fmla="*/ 247 h 526"/>
                <a:gd name="T94" fmla="*/ 985 w 1037"/>
                <a:gd name="T95" fmla="*/ 202 h 526"/>
                <a:gd name="T96" fmla="*/ 1009 w 1037"/>
                <a:gd name="T97" fmla="*/ 155 h 526"/>
                <a:gd name="T98" fmla="*/ 1029 w 1037"/>
                <a:gd name="T99" fmla="*/ 106 h 526"/>
                <a:gd name="T100" fmla="*/ 872 w 1037"/>
                <a:gd name="T101" fmla="*/ 117 h 526"/>
                <a:gd name="T102" fmla="*/ 735 w 1037"/>
                <a:gd name="T103"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7" h="526">
                  <a:moveTo>
                    <a:pt x="735" y="0"/>
                  </a:moveTo>
                  <a:lnTo>
                    <a:pt x="730" y="11"/>
                  </a:lnTo>
                  <a:lnTo>
                    <a:pt x="725" y="23"/>
                  </a:lnTo>
                  <a:lnTo>
                    <a:pt x="719" y="34"/>
                  </a:lnTo>
                  <a:lnTo>
                    <a:pt x="713" y="45"/>
                  </a:lnTo>
                  <a:lnTo>
                    <a:pt x="707" y="56"/>
                  </a:lnTo>
                  <a:lnTo>
                    <a:pt x="700" y="67"/>
                  </a:lnTo>
                  <a:lnTo>
                    <a:pt x="693" y="77"/>
                  </a:lnTo>
                  <a:lnTo>
                    <a:pt x="686" y="87"/>
                  </a:lnTo>
                  <a:lnTo>
                    <a:pt x="678" y="96"/>
                  </a:lnTo>
                  <a:lnTo>
                    <a:pt x="669" y="105"/>
                  </a:lnTo>
                  <a:lnTo>
                    <a:pt x="661" y="114"/>
                  </a:lnTo>
                  <a:lnTo>
                    <a:pt x="652" y="123"/>
                  </a:lnTo>
                  <a:lnTo>
                    <a:pt x="642" y="131"/>
                  </a:lnTo>
                  <a:lnTo>
                    <a:pt x="633" y="139"/>
                  </a:lnTo>
                  <a:lnTo>
                    <a:pt x="623" y="146"/>
                  </a:lnTo>
                  <a:lnTo>
                    <a:pt x="613" y="153"/>
                  </a:lnTo>
                  <a:lnTo>
                    <a:pt x="602" y="160"/>
                  </a:lnTo>
                  <a:lnTo>
                    <a:pt x="591" y="166"/>
                  </a:lnTo>
                  <a:lnTo>
                    <a:pt x="580" y="172"/>
                  </a:lnTo>
                  <a:lnTo>
                    <a:pt x="569" y="177"/>
                  </a:lnTo>
                  <a:lnTo>
                    <a:pt x="558" y="182"/>
                  </a:lnTo>
                  <a:lnTo>
                    <a:pt x="546" y="186"/>
                  </a:lnTo>
                  <a:lnTo>
                    <a:pt x="534" y="190"/>
                  </a:lnTo>
                  <a:lnTo>
                    <a:pt x="522" y="194"/>
                  </a:lnTo>
                  <a:lnTo>
                    <a:pt x="510" y="197"/>
                  </a:lnTo>
                  <a:lnTo>
                    <a:pt x="497" y="199"/>
                  </a:lnTo>
                  <a:lnTo>
                    <a:pt x="484" y="201"/>
                  </a:lnTo>
                  <a:lnTo>
                    <a:pt x="472" y="203"/>
                  </a:lnTo>
                  <a:lnTo>
                    <a:pt x="459" y="204"/>
                  </a:lnTo>
                  <a:lnTo>
                    <a:pt x="446" y="204"/>
                  </a:lnTo>
                  <a:lnTo>
                    <a:pt x="432" y="204"/>
                  </a:lnTo>
                  <a:lnTo>
                    <a:pt x="419" y="203"/>
                  </a:lnTo>
                  <a:lnTo>
                    <a:pt x="410" y="203"/>
                  </a:lnTo>
                  <a:lnTo>
                    <a:pt x="400" y="201"/>
                  </a:lnTo>
                  <a:lnTo>
                    <a:pt x="391" y="200"/>
                  </a:lnTo>
                  <a:lnTo>
                    <a:pt x="381" y="198"/>
                  </a:lnTo>
                  <a:lnTo>
                    <a:pt x="372" y="196"/>
                  </a:lnTo>
                  <a:lnTo>
                    <a:pt x="363" y="194"/>
                  </a:lnTo>
                  <a:lnTo>
                    <a:pt x="353" y="192"/>
                  </a:lnTo>
                  <a:lnTo>
                    <a:pt x="344" y="189"/>
                  </a:lnTo>
                  <a:lnTo>
                    <a:pt x="335" y="186"/>
                  </a:lnTo>
                  <a:lnTo>
                    <a:pt x="327" y="182"/>
                  </a:lnTo>
                  <a:lnTo>
                    <a:pt x="318" y="179"/>
                  </a:lnTo>
                  <a:lnTo>
                    <a:pt x="309" y="175"/>
                  </a:lnTo>
                  <a:lnTo>
                    <a:pt x="301" y="171"/>
                  </a:lnTo>
                  <a:lnTo>
                    <a:pt x="293" y="167"/>
                  </a:lnTo>
                  <a:lnTo>
                    <a:pt x="285" y="163"/>
                  </a:lnTo>
                  <a:lnTo>
                    <a:pt x="277" y="158"/>
                  </a:lnTo>
                  <a:lnTo>
                    <a:pt x="318" y="101"/>
                  </a:lnTo>
                  <a:lnTo>
                    <a:pt x="67" y="201"/>
                  </a:lnTo>
                  <a:lnTo>
                    <a:pt x="0" y="469"/>
                  </a:lnTo>
                  <a:lnTo>
                    <a:pt x="53" y="401"/>
                  </a:lnTo>
                  <a:lnTo>
                    <a:pt x="71" y="414"/>
                  </a:lnTo>
                  <a:lnTo>
                    <a:pt x="89" y="427"/>
                  </a:lnTo>
                  <a:lnTo>
                    <a:pt x="108" y="438"/>
                  </a:lnTo>
                  <a:lnTo>
                    <a:pt x="128" y="449"/>
                  </a:lnTo>
                  <a:lnTo>
                    <a:pt x="148" y="460"/>
                  </a:lnTo>
                  <a:lnTo>
                    <a:pt x="169" y="469"/>
                  </a:lnTo>
                  <a:lnTo>
                    <a:pt x="190" y="478"/>
                  </a:lnTo>
                  <a:lnTo>
                    <a:pt x="212" y="486"/>
                  </a:lnTo>
                  <a:lnTo>
                    <a:pt x="234" y="494"/>
                  </a:lnTo>
                  <a:lnTo>
                    <a:pt x="256" y="501"/>
                  </a:lnTo>
                  <a:lnTo>
                    <a:pt x="279" y="507"/>
                  </a:lnTo>
                  <a:lnTo>
                    <a:pt x="302" y="512"/>
                  </a:lnTo>
                  <a:lnTo>
                    <a:pt x="325" y="516"/>
                  </a:lnTo>
                  <a:lnTo>
                    <a:pt x="348" y="520"/>
                  </a:lnTo>
                  <a:lnTo>
                    <a:pt x="371" y="523"/>
                  </a:lnTo>
                  <a:lnTo>
                    <a:pt x="395" y="525"/>
                  </a:lnTo>
                  <a:lnTo>
                    <a:pt x="422" y="526"/>
                  </a:lnTo>
                  <a:lnTo>
                    <a:pt x="449" y="526"/>
                  </a:lnTo>
                  <a:lnTo>
                    <a:pt x="476" y="525"/>
                  </a:lnTo>
                  <a:lnTo>
                    <a:pt x="503" y="523"/>
                  </a:lnTo>
                  <a:lnTo>
                    <a:pt x="530" y="519"/>
                  </a:lnTo>
                  <a:lnTo>
                    <a:pt x="556" y="515"/>
                  </a:lnTo>
                  <a:lnTo>
                    <a:pt x="582" y="509"/>
                  </a:lnTo>
                  <a:lnTo>
                    <a:pt x="607" y="503"/>
                  </a:lnTo>
                  <a:lnTo>
                    <a:pt x="632" y="495"/>
                  </a:lnTo>
                  <a:lnTo>
                    <a:pt x="657" y="486"/>
                  </a:lnTo>
                  <a:lnTo>
                    <a:pt x="681" y="476"/>
                  </a:lnTo>
                  <a:lnTo>
                    <a:pt x="705" y="466"/>
                  </a:lnTo>
                  <a:lnTo>
                    <a:pt x="728" y="454"/>
                  </a:lnTo>
                  <a:lnTo>
                    <a:pt x="750" y="441"/>
                  </a:lnTo>
                  <a:lnTo>
                    <a:pt x="773" y="428"/>
                  </a:lnTo>
                  <a:lnTo>
                    <a:pt x="794" y="413"/>
                  </a:lnTo>
                  <a:lnTo>
                    <a:pt x="815" y="398"/>
                  </a:lnTo>
                  <a:lnTo>
                    <a:pt x="835" y="382"/>
                  </a:lnTo>
                  <a:lnTo>
                    <a:pt x="855" y="365"/>
                  </a:lnTo>
                  <a:lnTo>
                    <a:pt x="874" y="347"/>
                  </a:lnTo>
                  <a:lnTo>
                    <a:pt x="892" y="329"/>
                  </a:lnTo>
                  <a:lnTo>
                    <a:pt x="909" y="309"/>
                  </a:lnTo>
                  <a:lnTo>
                    <a:pt x="926" y="289"/>
                  </a:lnTo>
                  <a:lnTo>
                    <a:pt x="942" y="269"/>
                  </a:lnTo>
                  <a:lnTo>
                    <a:pt x="957" y="247"/>
                  </a:lnTo>
                  <a:lnTo>
                    <a:pt x="971" y="225"/>
                  </a:lnTo>
                  <a:lnTo>
                    <a:pt x="985" y="202"/>
                  </a:lnTo>
                  <a:lnTo>
                    <a:pt x="997" y="179"/>
                  </a:lnTo>
                  <a:lnTo>
                    <a:pt x="1009" y="155"/>
                  </a:lnTo>
                  <a:lnTo>
                    <a:pt x="1019" y="131"/>
                  </a:lnTo>
                  <a:lnTo>
                    <a:pt x="1029" y="106"/>
                  </a:lnTo>
                  <a:lnTo>
                    <a:pt x="1037" y="80"/>
                  </a:lnTo>
                  <a:lnTo>
                    <a:pt x="872" y="117"/>
                  </a:lnTo>
                  <a:lnTo>
                    <a:pt x="735" y="0"/>
                  </a:lnTo>
                  <a:lnTo>
                    <a:pt x="735" y="0"/>
                  </a:lnTo>
                  <a:close/>
                </a:path>
              </a:pathLst>
            </a:custGeom>
            <a:solidFill>
              <a:schemeClr val="tx2"/>
            </a:solidFill>
            <a:ln w="1143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8" name="Freeform 4">
              <a:extLst>
                <a:ext uri="{FF2B5EF4-FFF2-40B4-BE49-F238E27FC236}">
                  <a16:creationId xmlns:a16="http://schemas.microsoft.com/office/drawing/2014/main" id="{3E4754B1-1F49-A990-2B62-5F8152923055}"/>
                </a:ext>
              </a:extLst>
            </p:cNvPr>
            <p:cNvSpPr>
              <a:spLocks/>
            </p:cNvSpPr>
            <p:nvPr>
              <p:custDataLst>
                <p:tags r:id="rId4"/>
              </p:custDataLst>
            </p:nvPr>
          </p:nvSpPr>
          <p:spPr bwMode="auto">
            <a:xfrm rot="2243846">
              <a:off x="2785322" y="2246716"/>
              <a:ext cx="3454520" cy="3128859"/>
            </a:xfrm>
            <a:custGeom>
              <a:avLst/>
              <a:gdLst>
                <a:gd name="T0" fmla="*/ 125 w 893"/>
                <a:gd name="T1" fmla="*/ 323 h 826"/>
                <a:gd name="T2" fmla="*/ 151 w 893"/>
                <a:gd name="T3" fmla="*/ 323 h 826"/>
                <a:gd name="T4" fmla="*/ 177 w 893"/>
                <a:gd name="T5" fmla="*/ 324 h 826"/>
                <a:gd name="T6" fmla="*/ 204 w 893"/>
                <a:gd name="T7" fmla="*/ 327 h 826"/>
                <a:gd name="T8" fmla="*/ 230 w 893"/>
                <a:gd name="T9" fmla="*/ 331 h 826"/>
                <a:gd name="T10" fmla="*/ 257 w 893"/>
                <a:gd name="T11" fmla="*/ 338 h 826"/>
                <a:gd name="T12" fmla="*/ 282 w 893"/>
                <a:gd name="T13" fmla="*/ 346 h 826"/>
                <a:gd name="T14" fmla="*/ 308 w 893"/>
                <a:gd name="T15" fmla="*/ 356 h 826"/>
                <a:gd name="T16" fmla="*/ 332 w 893"/>
                <a:gd name="T17" fmla="*/ 367 h 826"/>
                <a:gd name="T18" fmla="*/ 355 w 893"/>
                <a:gd name="T19" fmla="*/ 380 h 826"/>
                <a:gd name="T20" fmla="*/ 377 w 893"/>
                <a:gd name="T21" fmla="*/ 395 h 826"/>
                <a:gd name="T22" fmla="*/ 398 w 893"/>
                <a:gd name="T23" fmla="*/ 412 h 826"/>
                <a:gd name="T24" fmla="*/ 417 w 893"/>
                <a:gd name="T25" fmla="*/ 430 h 826"/>
                <a:gd name="T26" fmla="*/ 434 w 893"/>
                <a:gd name="T27" fmla="*/ 450 h 826"/>
                <a:gd name="T28" fmla="*/ 449 w 893"/>
                <a:gd name="T29" fmla="*/ 472 h 826"/>
                <a:gd name="T30" fmla="*/ 461 w 893"/>
                <a:gd name="T31" fmla="*/ 495 h 826"/>
                <a:gd name="T32" fmla="*/ 473 w 893"/>
                <a:gd name="T33" fmla="*/ 526 h 826"/>
                <a:gd name="T34" fmla="*/ 484 w 893"/>
                <a:gd name="T35" fmla="*/ 563 h 826"/>
                <a:gd name="T36" fmla="*/ 488 w 893"/>
                <a:gd name="T37" fmla="*/ 581 h 826"/>
                <a:gd name="T38" fmla="*/ 491 w 893"/>
                <a:gd name="T39" fmla="*/ 600 h 826"/>
                <a:gd name="T40" fmla="*/ 492 w 893"/>
                <a:gd name="T41" fmla="*/ 619 h 826"/>
                <a:gd name="T42" fmla="*/ 493 w 893"/>
                <a:gd name="T43" fmla="*/ 637 h 826"/>
                <a:gd name="T44" fmla="*/ 492 w 893"/>
                <a:gd name="T45" fmla="*/ 655 h 826"/>
                <a:gd name="T46" fmla="*/ 623 w 893"/>
                <a:gd name="T47" fmla="*/ 826 h 826"/>
                <a:gd name="T48" fmla="*/ 809 w 893"/>
                <a:gd name="T49" fmla="*/ 750 h 826"/>
                <a:gd name="T50" fmla="*/ 816 w 893"/>
                <a:gd name="T51" fmla="*/ 706 h 826"/>
                <a:gd name="T52" fmla="*/ 819 w 893"/>
                <a:gd name="T53" fmla="*/ 662 h 826"/>
                <a:gd name="T54" fmla="*/ 819 w 893"/>
                <a:gd name="T55" fmla="*/ 616 h 826"/>
                <a:gd name="T56" fmla="*/ 816 w 893"/>
                <a:gd name="T57" fmla="*/ 570 h 826"/>
                <a:gd name="T58" fmla="*/ 809 w 893"/>
                <a:gd name="T59" fmla="*/ 524 h 826"/>
                <a:gd name="T60" fmla="*/ 799 w 893"/>
                <a:gd name="T61" fmla="*/ 478 h 826"/>
                <a:gd name="T62" fmla="*/ 786 w 893"/>
                <a:gd name="T63" fmla="*/ 433 h 826"/>
                <a:gd name="T64" fmla="*/ 770 w 893"/>
                <a:gd name="T65" fmla="*/ 389 h 826"/>
                <a:gd name="T66" fmla="*/ 758 w 893"/>
                <a:gd name="T67" fmla="*/ 362 h 826"/>
                <a:gd name="T68" fmla="*/ 745 w 893"/>
                <a:gd name="T69" fmla="*/ 337 h 826"/>
                <a:gd name="T70" fmla="*/ 731 w 893"/>
                <a:gd name="T71" fmla="*/ 311 h 826"/>
                <a:gd name="T72" fmla="*/ 716 w 893"/>
                <a:gd name="T73" fmla="*/ 287 h 826"/>
                <a:gd name="T74" fmla="*/ 700 w 893"/>
                <a:gd name="T75" fmla="*/ 263 h 826"/>
                <a:gd name="T76" fmla="*/ 682 w 893"/>
                <a:gd name="T77" fmla="*/ 241 h 826"/>
                <a:gd name="T78" fmla="*/ 645 w 893"/>
                <a:gd name="T79" fmla="*/ 198 h 826"/>
                <a:gd name="T80" fmla="*/ 604 w 893"/>
                <a:gd name="T81" fmla="*/ 159 h 826"/>
                <a:gd name="T82" fmla="*/ 560 w 893"/>
                <a:gd name="T83" fmla="*/ 123 h 826"/>
                <a:gd name="T84" fmla="*/ 512 w 893"/>
                <a:gd name="T85" fmla="*/ 92 h 826"/>
                <a:gd name="T86" fmla="*/ 462 w 893"/>
                <a:gd name="T87" fmla="*/ 65 h 826"/>
                <a:gd name="T88" fmla="*/ 410 w 893"/>
                <a:gd name="T89" fmla="*/ 42 h 826"/>
                <a:gd name="T90" fmla="*/ 355 w 893"/>
                <a:gd name="T91" fmla="*/ 24 h 826"/>
                <a:gd name="T92" fmla="*/ 299 w 893"/>
                <a:gd name="T93" fmla="*/ 11 h 826"/>
                <a:gd name="T94" fmla="*/ 241 w 893"/>
                <a:gd name="T95" fmla="*/ 3 h 826"/>
                <a:gd name="T96" fmla="*/ 211 w 893"/>
                <a:gd name="T97" fmla="*/ 1 h 826"/>
                <a:gd name="T98" fmla="*/ 181 w 893"/>
                <a:gd name="T99" fmla="*/ 0 h 826"/>
                <a:gd name="T100" fmla="*/ 151 w 893"/>
                <a:gd name="T101" fmla="*/ 0 h 826"/>
                <a:gd name="T102" fmla="*/ 121 w 893"/>
                <a:gd name="T103" fmla="*/ 2 h 826"/>
                <a:gd name="T104" fmla="*/ 91 w 893"/>
                <a:gd name="T105" fmla="*/ 6 h 826"/>
                <a:gd name="T106" fmla="*/ 61 w 893"/>
                <a:gd name="T107" fmla="*/ 10 h 826"/>
                <a:gd name="T108" fmla="*/ 30 w 893"/>
                <a:gd name="T109" fmla="*/ 17 h 826"/>
                <a:gd name="T110" fmla="*/ 0 w 893"/>
                <a:gd name="T111" fmla="*/ 24 h 826"/>
                <a:gd name="T112" fmla="*/ 112 w 893"/>
                <a:gd name="T113" fmla="*/ 3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3" h="826">
                  <a:moveTo>
                    <a:pt x="112" y="325"/>
                  </a:moveTo>
                  <a:lnTo>
                    <a:pt x="125" y="323"/>
                  </a:lnTo>
                  <a:lnTo>
                    <a:pt x="138" y="323"/>
                  </a:lnTo>
                  <a:lnTo>
                    <a:pt x="151" y="323"/>
                  </a:lnTo>
                  <a:lnTo>
                    <a:pt x="164" y="323"/>
                  </a:lnTo>
                  <a:lnTo>
                    <a:pt x="177" y="324"/>
                  </a:lnTo>
                  <a:lnTo>
                    <a:pt x="190" y="325"/>
                  </a:lnTo>
                  <a:lnTo>
                    <a:pt x="204" y="327"/>
                  </a:lnTo>
                  <a:lnTo>
                    <a:pt x="217" y="329"/>
                  </a:lnTo>
                  <a:lnTo>
                    <a:pt x="230" y="331"/>
                  </a:lnTo>
                  <a:lnTo>
                    <a:pt x="243" y="334"/>
                  </a:lnTo>
                  <a:lnTo>
                    <a:pt x="257" y="338"/>
                  </a:lnTo>
                  <a:lnTo>
                    <a:pt x="270" y="341"/>
                  </a:lnTo>
                  <a:lnTo>
                    <a:pt x="282" y="346"/>
                  </a:lnTo>
                  <a:lnTo>
                    <a:pt x="295" y="350"/>
                  </a:lnTo>
                  <a:lnTo>
                    <a:pt x="308" y="356"/>
                  </a:lnTo>
                  <a:lnTo>
                    <a:pt x="320" y="361"/>
                  </a:lnTo>
                  <a:lnTo>
                    <a:pt x="332" y="367"/>
                  </a:lnTo>
                  <a:lnTo>
                    <a:pt x="344" y="374"/>
                  </a:lnTo>
                  <a:lnTo>
                    <a:pt x="355" y="380"/>
                  </a:lnTo>
                  <a:lnTo>
                    <a:pt x="367" y="388"/>
                  </a:lnTo>
                  <a:lnTo>
                    <a:pt x="377" y="395"/>
                  </a:lnTo>
                  <a:lnTo>
                    <a:pt x="388" y="404"/>
                  </a:lnTo>
                  <a:lnTo>
                    <a:pt x="398" y="412"/>
                  </a:lnTo>
                  <a:lnTo>
                    <a:pt x="408" y="421"/>
                  </a:lnTo>
                  <a:lnTo>
                    <a:pt x="417" y="430"/>
                  </a:lnTo>
                  <a:lnTo>
                    <a:pt x="426" y="440"/>
                  </a:lnTo>
                  <a:lnTo>
                    <a:pt x="434" y="450"/>
                  </a:lnTo>
                  <a:lnTo>
                    <a:pt x="442" y="461"/>
                  </a:lnTo>
                  <a:lnTo>
                    <a:pt x="449" y="472"/>
                  </a:lnTo>
                  <a:lnTo>
                    <a:pt x="455" y="484"/>
                  </a:lnTo>
                  <a:lnTo>
                    <a:pt x="461" y="495"/>
                  </a:lnTo>
                  <a:lnTo>
                    <a:pt x="467" y="508"/>
                  </a:lnTo>
                  <a:lnTo>
                    <a:pt x="473" y="526"/>
                  </a:lnTo>
                  <a:lnTo>
                    <a:pt x="479" y="544"/>
                  </a:lnTo>
                  <a:lnTo>
                    <a:pt x="484" y="563"/>
                  </a:lnTo>
                  <a:lnTo>
                    <a:pt x="486" y="572"/>
                  </a:lnTo>
                  <a:lnTo>
                    <a:pt x="488" y="581"/>
                  </a:lnTo>
                  <a:lnTo>
                    <a:pt x="490" y="591"/>
                  </a:lnTo>
                  <a:lnTo>
                    <a:pt x="491" y="600"/>
                  </a:lnTo>
                  <a:lnTo>
                    <a:pt x="492" y="609"/>
                  </a:lnTo>
                  <a:lnTo>
                    <a:pt x="492" y="619"/>
                  </a:lnTo>
                  <a:lnTo>
                    <a:pt x="493" y="628"/>
                  </a:lnTo>
                  <a:lnTo>
                    <a:pt x="493" y="637"/>
                  </a:lnTo>
                  <a:lnTo>
                    <a:pt x="492" y="646"/>
                  </a:lnTo>
                  <a:lnTo>
                    <a:pt x="492" y="655"/>
                  </a:lnTo>
                  <a:lnTo>
                    <a:pt x="422" y="644"/>
                  </a:lnTo>
                  <a:lnTo>
                    <a:pt x="623" y="826"/>
                  </a:lnTo>
                  <a:lnTo>
                    <a:pt x="893" y="768"/>
                  </a:lnTo>
                  <a:lnTo>
                    <a:pt x="809" y="750"/>
                  </a:lnTo>
                  <a:lnTo>
                    <a:pt x="813" y="728"/>
                  </a:lnTo>
                  <a:lnTo>
                    <a:pt x="816" y="706"/>
                  </a:lnTo>
                  <a:lnTo>
                    <a:pt x="818" y="684"/>
                  </a:lnTo>
                  <a:lnTo>
                    <a:pt x="819" y="662"/>
                  </a:lnTo>
                  <a:lnTo>
                    <a:pt x="819" y="639"/>
                  </a:lnTo>
                  <a:lnTo>
                    <a:pt x="819" y="616"/>
                  </a:lnTo>
                  <a:lnTo>
                    <a:pt x="818" y="593"/>
                  </a:lnTo>
                  <a:lnTo>
                    <a:pt x="816" y="570"/>
                  </a:lnTo>
                  <a:lnTo>
                    <a:pt x="813" y="547"/>
                  </a:lnTo>
                  <a:lnTo>
                    <a:pt x="809" y="524"/>
                  </a:lnTo>
                  <a:lnTo>
                    <a:pt x="804" y="501"/>
                  </a:lnTo>
                  <a:lnTo>
                    <a:pt x="799" y="478"/>
                  </a:lnTo>
                  <a:lnTo>
                    <a:pt x="793" y="455"/>
                  </a:lnTo>
                  <a:lnTo>
                    <a:pt x="786" y="433"/>
                  </a:lnTo>
                  <a:lnTo>
                    <a:pt x="778" y="411"/>
                  </a:lnTo>
                  <a:lnTo>
                    <a:pt x="770" y="389"/>
                  </a:lnTo>
                  <a:lnTo>
                    <a:pt x="764" y="376"/>
                  </a:lnTo>
                  <a:lnTo>
                    <a:pt x="758" y="362"/>
                  </a:lnTo>
                  <a:lnTo>
                    <a:pt x="752" y="349"/>
                  </a:lnTo>
                  <a:lnTo>
                    <a:pt x="745" y="337"/>
                  </a:lnTo>
                  <a:lnTo>
                    <a:pt x="738" y="324"/>
                  </a:lnTo>
                  <a:lnTo>
                    <a:pt x="731" y="311"/>
                  </a:lnTo>
                  <a:lnTo>
                    <a:pt x="723" y="299"/>
                  </a:lnTo>
                  <a:lnTo>
                    <a:pt x="716" y="287"/>
                  </a:lnTo>
                  <a:lnTo>
                    <a:pt x="708" y="275"/>
                  </a:lnTo>
                  <a:lnTo>
                    <a:pt x="700" y="263"/>
                  </a:lnTo>
                  <a:lnTo>
                    <a:pt x="691" y="252"/>
                  </a:lnTo>
                  <a:lnTo>
                    <a:pt x="682" y="241"/>
                  </a:lnTo>
                  <a:lnTo>
                    <a:pt x="664" y="219"/>
                  </a:lnTo>
                  <a:lnTo>
                    <a:pt x="645" y="198"/>
                  </a:lnTo>
                  <a:lnTo>
                    <a:pt x="625" y="178"/>
                  </a:lnTo>
                  <a:lnTo>
                    <a:pt x="604" y="159"/>
                  </a:lnTo>
                  <a:lnTo>
                    <a:pt x="582" y="141"/>
                  </a:lnTo>
                  <a:lnTo>
                    <a:pt x="560" y="123"/>
                  </a:lnTo>
                  <a:lnTo>
                    <a:pt x="536" y="107"/>
                  </a:lnTo>
                  <a:lnTo>
                    <a:pt x="512" y="92"/>
                  </a:lnTo>
                  <a:lnTo>
                    <a:pt x="488" y="78"/>
                  </a:lnTo>
                  <a:lnTo>
                    <a:pt x="462" y="65"/>
                  </a:lnTo>
                  <a:lnTo>
                    <a:pt x="436" y="53"/>
                  </a:lnTo>
                  <a:lnTo>
                    <a:pt x="410" y="42"/>
                  </a:lnTo>
                  <a:lnTo>
                    <a:pt x="383" y="33"/>
                  </a:lnTo>
                  <a:lnTo>
                    <a:pt x="355" y="24"/>
                  </a:lnTo>
                  <a:lnTo>
                    <a:pt x="327" y="17"/>
                  </a:lnTo>
                  <a:lnTo>
                    <a:pt x="299" y="11"/>
                  </a:lnTo>
                  <a:lnTo>
                    <a:pt x="270" y="6"/>
                  </a:lnTo>
                  <a:lnTo>
                    <a:pt x="241" y="3"/>
                  </a:lnTo>
                  <a:lnTo>
                    <a:pt x="226" y="2"/>
                  </a:lnTo>
                  <a:lnTo>
                    <a:pt x="211" y="1"/>
                  </a:lnTo>
                  <a:lnTo>
                    <a:pt x="196" y="0"/>
                  </a:lnTo>
                  <a:lnTo>
                    <a:pt x="181" y="0"/>
                  </a:lnTo>
                  <a:lnTo>
                    <a:pt x="166" y="0"/>
                  </a:lnTo>
                  <a:lnTo>
                    <a:pt x="151" y="0"/>
                  </a:lnTo>
                  <a:lnTo>
                    <a:pt x="136" y="1"/>
                  </a:lnTo>
                  <a:lnTo>
                    <a:pt x="121" y="2"/>
                  </a:lnTo>
                  <a:lnTo>
                    <a:pt x="106" y="4"/>
                  </a:lnTo>
                  <a:lnTo>
                    <a:pt x="91" y="6"/>
                  </a:lnTo>
                  <a:lnTo>
                    <a:pt x="76" y="8"/>
                  </a:lnTo>
                  <a:lnTo>
                    <a:pt x="61" y="10"/>
                  </a:lnTo>
                  <a:lnTo>
                    <a:pt x="45" y="13"/>
                  </a:lnTo>
                  <a:lnTo>
                    <a:pt x="30" y="17"/>
                  </a:lnTo>
                  <a:lnTo>
                    <a:pt x="15" y="20"/>
                  </a:lnTo>
                  <a:lnTo>
                    <a:pt x="0" y="24"/>
                  </a:lnTo>
                  <a:lnTo>
                    <a:pt x="135" y="154"/>
                  </a:lnTo>
                  <a:lnTo>
                    <a:pt x="112" y="325"/>
                  </a:lnTo>
                  <a:lnTo>
                    <a:pt x="112" y="325"/>
                  </a:lnTo>
                  <a:close/>
                </a:path>
              </a:pathLst>
            </a:custGeom>
            <a:solidFill>
              <a:srgbClr val="9AA4C3"/>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20" name="TextBox 19">
              <a:extLst>
                <a:ext uri="{FF2B5EF4-FFF2-40B4-BE49-F238E27FC236}">
                  <a16:creationId xmlns:a16="http://schemas.microsoft.com/office/drawing/2014/main" id="{B0A1982C-C4F6-EEE5-06A3-0FC015D7CF6F}"/>
                </a:ext>
              </a:extLst>
            </p:cNvPr>
            <p:cNvSpPr txBox="1"/>
            <p:nvPr/>
          </p:nvSpPr>
          <p:spPr>
            <a:xfrm rot="20514076">
              <a:off x="1323245" y="1878150"/>
              <a:ext cx="3785064" cy="3814007"/>
            </a:xfrm>
            <a:prstGeom prst="rect">
              <a:avLst/>
            </a:prstGeom>
            <a:noFill/>
            <a:ln w="28575">
              <a:noFill/>
            </a:ln>
          </p:spPr>
          <p:txBody>
            <a:bodyPr wrap="square" lIns="109728" tIns="54864" rIns="109728" bIns="54864" rtlCol="0">
              <a:prstTxWarp prst="textArchUp">
                <a:avLst>
                  <a:gd name="adj" fmla="val 5811603"/>
                </a:avLst>
              </a:prstTxWarp>
              <a:spAutoFit/>
            </a:bodyPr>
            <a:lstStyle/>
            <a:p>
              <a:r>
                <a:rPr lang="en-US" sz="2000" b="1" dirty="0">
                  <a:solidFill>
                    <a:schemeClr val="bg1"/>
                  </a:solidFill>
                </a:rPr>
                <a:t>IDENTIFY LEADERS           INVEST &amp; DEVELOP             FORECAST VACANCIES       </a:t>
              </a:r>
            </a:p>
          </p:txBody>
        </p:sp>
      </p:grpSp>
      <p:sp>
        <p:nvSpPr>
          <p:cNvPr id="25" name="TextBox 24">
            <a:extLst>
              <a:ext uri="{FF2B5EF4-FFF2-40B4-BE49-F238E27FC236}">
                <a16:creationId xmlns:a16="http://schemas.microsoft.com/office/drawing/2014/main" id="{87B0EDF0-CFF5-E2B3-3E7E-429DFF2012AA}"/>
              </a:ext>
            </a:extLst>
          </p:cNvPr>
          <p:cNvSpPr txBox="1"/>
          <p:nvPr/>
        </p:nvSpPr>
        <p:spPr>
          <a:xfrm>
            <a:off x="5279299" y="1247775"/>
            <a:ext cx="6455502" cy="5355312"/>
          </a:xfrm>
          <a:prstGeom prst="rect">
            <a:avLst/>
          </a:prstGeom>
          <a:noFill/>
        </p:spPr>
        <p:txBody>
          <a:bodyPr wrap="square" rtlCol="0">
            <a:spAutoFit/>
          </a:bodyPr>
          <a:lstStyle/>
          <a:p>
            <a:r>
              <a:rPr lang="en-US" b="1" dirty="0">
                <a:solidFill>
                  <a:srgbClr val="9AA4C3"/>
                </a:solidFill>
              </a:rPr>
              <a:t>FORECAST VACANCIES</a:t>
            </a:r>
          </a:p>
          <a:p>
            <a:r>
              <a:rPr lang="en-US" sz="1400" i="1" dirty="0"/>
              <a:t>In our experience, districts consistently underestimate the number of campus leadership vacancies they are likely to see in a given year. It is therefore no surprise that they often find themselves poorly prepared to fill them. Districts must have an accurate picture of how many vacancies they are likely to have in the next few hiring cycles so that they can better plan for how many future leaders they need to prepare.</a:t>
            </a:r>
          </a:p>
          <a:p>
            <a:endParaRPr lang="en-US" dirty="0"/>
          </a:p>
          <a:p>
            <a:r>
              <a:rPr lang="en-US" b="1" dirty="0">
                <a:solidFill>
                  <a:schemeClr val="tx2"/>
                </a:solidFill>
              </a:rPr>
              <a:t>IDENTIFY LEADERS</a:t>
            </a:r>
          </a:p>
          <a:p>
            <a:r>
              <a:rPr lang="en-US" sz="1400" i="1" dirty="0"/>
              <a:t>Spotting leadership potential can be highly subjective and dependent on “who you know” or who you work under. This means that leadership potential is left untapped in districts without a clear, consistent and rigorous process for reviewing talent. Districts who spend time defining and aligning around what they are looking for in various levels of leadership and creating a robust process to evaluate each potential future leader’s readiness not only can gain a clearer picture of who meets that bar, but they begin to see the gaps individuals have and can partner to close them before they are in the seat.</a:t>
            </a:r>
          </a:p>
          <a:p>
            <a:endParaRPr lang="en-US" dirty="0"/>
          </a:p>
          <a:p>
            <a:r>
              <a:rPr lang="en-US" b="1" dirty="0">
                <a:solidFill>
                  <a:schemeClr val="accent1"/>
                </a:solidFill>
              </a:rPr>
              <a:t>INVEST &amp; DEVELOP</a:t>
            </a:r>
          </a:p>
          <a:p>
            <a:r>
              <a:rPr lang="en-US" sz="1400" i="1" dirty="0"/>
              <a:t>No one is entirely ready for a role they have not experienced. That said, the closer they are, the more successful they will be. Identifying future leaders means understanding how far they are from ready and then partnering with them to close the most important gaps through targeted development opportunities and programs. Districts who plan for such intentional and differentiated development not only see better results from those they promote but also higher retention among staff.</a:t>
            </a:r>
          </a:p>
        </p:txBody>
      </p:sp>
    </p:spTree>
    <p:extLst>
      <p:ext uri="{BB962C8B-B14F-4D97-AF65-F5344CB8AC3E}">
        <p14:creationId xmlns:p14="http://schemas.microsoft.com/office/powerpoint/2010/main" val="14930935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02E0485-6604-7B87-9C93-37EECCFDD691}"/>
              </a:ext>
            </a:extLst>
          </p:cNvPr>
          <p:cNvGraphicFramePr>
            <a:graphicFrameLocks noChangeAspect="1"/>
          </p:cNvGraphicFramePr>
          <p:nvPr>
            <p:custDataLst>
              <p:tags r:id="rId1"/>
            </p:custDataLst>
            <p:extLst>
              <p:ext uri="{D42A27DB-BD31-4B8C-83A1-F6EECF244321}">
                <p14:modId xmlns:p14="http://schemas.microsoft.com/office/powerpoint/2010/main" val="1549842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04" imgH="405" progId="TCLayout.ActiveDocument.1">
                  <p:embed/>
                </p:oleObj>
              </mc:Choice>
              <mc:Fallback>
                <p:oleObj name="think-cell Slide" r:id="rId47" imgW="404" imgH="405" progId="TCLayout.ActiveDocument.1">
                  <p:embed/>
                  <p:pic>
                    <p:nvPicPr>
                      <p:cNvPr id="5" name="think-cell data - do not delete" hidden="1">
                        <a:extLst>
                          <a:ext uri="{FF2B5EF4-FFF2-40B4-BE49-F238E27FC236}">
                            <a16:creationId xmlns:a16="http://schemas.microsoft.com/office/drawing/2014/main" id="{F02E0485-6604-7B87-9C93-37EECCFDD69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B3A262D-F4E3-CB48-2C7D-D2AB1D066028}"/>
              </a:ext>
            </a:extLst>
          </p:cNvPr>
          <p:cNvSpPr>
            <a:spLocks noGrp="1"/>
          </p:cNvSpPr>
          <p:nvPr>
            <p:ph type="title"/>
          </p:nvPr>
        </p:nvSpPr>
        <p:spPr>
          <a:xfrm>
            <a:off x="355600" y="239714"/>
            <a:ext cx="11125200" cy="350837"/>
          </a:xfrm>
        </p:spPr>
        <p:txBody>
          <a:bodyPr vert="horz"/>
          <a:lstStyle/>
          <a:p>
            <a:r>
              <a:rPr lang="en-US" dirty="0"/>
              <a:t>A full Vacancy Planning Cycle spans the academic year, aligning with data availability and the district’s decision-making timelines</a:t>
            </a:r>
          </a:p>
        </p:txBody>
      </p:sp>
      <p:sp>
        <p:nvSpPr>
          <p:cNvPr id="6" name="Text Placeholder 5">
            <a:extLst>
              <a:ext uri="{FF2B5EF4-FFF2-40B4-BE49-F238E27FC236}">
                <a16:creationId xmlns:a16="http://schemas.microsoft.com/office/drawing/2014/main" id="{92849214-E14A-3F6A-8884-53C7A269C960}"/>
              </a:ext>
            </a:extLst>
          </p:cNvPr>
          <p:cNvSpPr>
            <a:spLocks noGrp="1"/>
          </p:cNvSpPr>
          <p:nvPr>
            <p:ph type="body" sz="quarter" idx="11"/>
          </p:nvPr>
        </p:nvSpPr>
        <p:spPr>
          <a:xfrm>
            <a:off x="355600" y="1131740"/>
            <a:ext cx="11125200" cy="350837"/>
          </a:xfrm>
        </p:spPr>
        <p:txBody>
          <a:bodyPr/>
          <a:lstStyle/>
          <a:p>
            <a:r>
              <a:rPr lang="en-US" dirty="0"/>
              <a:t>Each district will have its own timeline based on when data becomes available and their own internal planning cycles, but the timeline below is what we have seen most often and has been feasible in a maturing system</a:t>
            </a:r>
          </a:p>
        </p:txBody>
      </p:sp>
      <p:sp>
        <p:nvSpPr>
          <p:cNvPr id="57" name="Text Placeholder 3">
            <a:extLst>
              <a:ext uri="{FF2B5EF4-FFF2-40B4-BE49-F238E27FC236}">
                <a16:creationId xmlns:a16="http://schemas.microsoft.com/office/drawing/2014/main" id="{AEFB69DA-18C8-9B2F-29F2-2F5F46704CF3}"/>
              </a:ext>
            </a:extLst>
          </p:cNvPr>
          <p:cNvSpPr>
            <a:spLocks noGrp="1"/>
          </p:cNvSpPr>
          <p:nvPr>
            <p:custDataLst>
              <p:tags r:id="rId2"/>
            </p:custDataLst>
          </p:nvPr>
        </p:nvSpPr>
        <p:spPr bwMode="auto">
          <a:xfrm>
            <a:off x="1533525" y="1695450"/>
            <a:ext cx="723900"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D76E4F63-231D-4BD1-9B03-5EC61948BEE1}" type="datetime'''''''''''''''''''''A''u''''''''''''g'''''''''''''''">
              <a:rPr lang="en-US" altLang="en-US" sz="1400" b="1" smtClean="0">
                <a:solidFill>
                  <a:schemeClr val="bg1"/>
                </a:solidFill>
                <a:effectLst/>
                <a:cs typeface="+mn-cs"/>
              </a:rPr>
              <a:pPr/>
              <a:t>Aug</a:t>
            </a:fld>
            <a:endParaRPr lang="en-US" sz="1400" b="1" dirty="0">
              <a:solidFill>
                <a:schemeClr val="bg1"/>
              </a:solidFill>
              <a:cs typeface="+mn-cs"/>
            </a:endParaRPr>
          </a:p>
        </p:txBody>
      </p:sp>
      <p:sp>
        <p:nvSpPr>
          <p:cNvPr id="157" name="Text Placeholder 3">
            <a:extLst>
              <a:ext uri="{FF2B5EF4-FFF2-40B4-BE49-F238E27FC236}">
                <a16:creationId xmlns:a16="http://schemas.microsoft.com/office/drawing/2014/main" id="{A34591AD-22A7-CBC1-D3F8-6D43F644B3A4}"/>
              </a:ext>
            </a:extLst>
          </p:cNvPr>
          <p:cNvSpPr>
            <a:spLocks noGrp="1"/>
          </p:cNvSpPr>
          <p:nvPr>
            <p:custDataLst>
              <p:tags r:id="rId3"/>
            </p:custDataLst>
          </p:nvPr>
        </p:nvSpPr>
        <p:spPr bwMode="auto">
          <a:xfrm>
            <a:off x="2257425" y="1695450"/>
            <a:ext cx="700088"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5C02840D-A091-4688-AECA-7BB5EBF422BB}" type="datetime'''''''''''''''''''''''''''''''''''''S''''''''e''''''''''p'''''">
              <a:rPr lang="en-US" altLang="en-US" sz="1400" b="1" smtClean="0">
                <a:solidFill>
                  <a:schemeClr val="bg1"/>
                </a:solidFill>
                <a:effectLst/>
                <a:cs typeface="+mn-cs"/>
              </a:rPr>
              <a:pPr/>
              <a:t>Sep</a:t>
            </a:fld>
            <a:endParaRPr lang="en-US" sz="1400" b="1" dirty="0">
              <a:solidFill>
                <a:schemeClr val="bg1"/>
              </a:solidFill>
              <a:cs typeface="+mn-cs"/>
            </a:endParaRPr>
          </a:p>
        </p:txBody>
      </p:sp>
      <p:sp>
        <p:nvSpPr>
          <p:cNvPr id="158" name="Text Placeholder 3">
            <a:extLst>
              <a:ext uri="{FF2B5EF4-FFF2-40B4-BE49-F238E27FC236}">
                <a16:creationId xmlns:a16="http://schemas.microsoft.com/office/drawing/2014/main" id="{D7367CE6-A7CE-3DEA-8712-600A99275725}"/>
              </a:ext>
            </a:extLst>
          </p:cNvPr>
          <p:cNvSpPr>
            <a:spLocks noGrp="1"/>
          </p:cNvSpPr>
          <p:nvPr>
            <p:custDataLst>
              <p:tags r:id="rId4"/>
            </p:custDataLst>
          </p:nvPr>
        </p:nvSpPr>
        <p:spPr bwMode="auto">
          <a:xfrm>
            <a:off x="2957513" y="1695450"/>
            <a:ext cx="723900"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33CACB4-D88C-4EAB-99C2-A47CDCE6B90F}" type="datetime'''''''''''''''Oc''''''''''''''''t'''''''''''''''''''''''''">
              <a:rPr lang="en-US" altLang="en-US" sz="1400" b="1" smtClean="0">
                <a:solidFill>
                  <a:schemeClr val="bg1"/>
                </a:solidFill>
                <a:effectLst/>
                <a:cs typeface="+mn-cs"/>
              </a:rPr>
              <a:pPr/>
              <a:t>Oct</a:t>
            </a:fld>
            <a:endParaRPr lang="en-US" sz="1400" b="1" dirty="0">
              <a:solidFill>
                <a:schemeClr val="bg1"/>
              </a:solidFill>
              <a:cs typeface="+mn-cs"/>
            </a:endParaRPr>
          </a:p>
        </p:txBody>
      </p:sp>
      <p:sp>
        <p:nvSpPr>
          <p:cNvPr id="159" name="Text Placeholder 3">
            <a:extLst>
              <a:ext uri="{FF2B5EF4-FFF2-40B4-BE49-F238E27FC236}">
                <a16:creationId xmlns:a16="http://schemas.microsoft.com/office/drawing/2014/main" id="{721FC63E-C34C-7CBB-762B-EB797962B8D1}"/>
              </a:ext>
            </a:extLst>
          </p:cNvPr>
          <p:cNvSpPr>
            <a:spLocks noGrp="1"/>
          </p:cNvSpPr>
          <p:nvPr>
            <p:custDataLst>
              <p:tags r:id="rId5"/>
            </p:custDataLst>
          </p:nvPr>
        </p:nvSpPr>
        <p:spPr bwMode="auto">
          <a:xfrm>
            <a:off x="3681413" y="1695450"/>
            <a:ext cx="700088"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553B73BB-09C8-4B2B-83AE-FD5170880129}" type="datetime'''''''''''''''''''N''''''''o''v'''''''''">
              <a:rPr lang="en-US" altLang="en-US" sz="1400" b="1" smtClean="0">
                <a:solidFill>
                  <a:schemeClr val="bg1"/>
                </a:solidFill>
                <a:effectLst/>
                <a:cs typeface="+mn-cs"/>
              </a:rPr>
              <a:pPr/>
              <a:t>Nov</a:t>
            </a:fld>
            <a:endParaRPr lang="en-US" sz="1400" b="1" dirty="0">
              <a:solidFill>
                <a:schemeClr val="bg1"/>
              </a:solidFill>
              <a:cs typeface="+mn-cs"/>
            </a:endParaRPr>
          </a:p>
        </p:txBody>
      </p:sp>
      <p:sp>
        <p:nvSpPr>
          <p:cNvPr id="160" name="Text Placeholder 3">
            <a:extLst>
              <a:ext uri="{FF2B5EF4-FFF2-40B4-BE49-F238E27FC236}">
                <a16:creationId xmlns:a16="http://schemas.microsoft.com/office/drawing/2014/main" id="{8C5BD755-8C61-A2ED-7B25-03E2BFB5BC82}"/>
              </a:ext>
            </a:extLst>
          </p:cNvPr>
          <p:cNvSpPr>
            <a:spLocks noGrp="1"/>
          </p:cNvSpPr>
          <p:nvPr>
            <p:custDataLst>
              <p:tags r:id="rId6"/>
            </p:custDataLst>
          </p:nvPr>
        </p:nvSpPr>
        <p:spPr bwMode="auto">
          <a:xfrm>
            <a:off x="4381500" y="1695450"/>
            <a:ext cx="723900"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BD0F86F-0DA1-4054-B9B5-5E726AF16FE8}" type="datetime'''D''''''''''''''e''''''''''''''''''''''''c'''''''''''''">
              <a:rPr lang="en-US" altLang="en-US" sz="1400" b="1" smtClean="0">
                <a:solidFill>
                  <a:schemeClr val="bg1"/>
                </a:solidFill>
                <a:effectLst/>
                <a:cs typeface="+mn-cs"/>
              </a:rPr>
              <a:pPr/>
              <a:t>Dec</a:t>
            </a:fld>
            <a:endParaRPr lang="en-US" sz="1400" b="1" dirty="0">
              <a:solidFill>
                <a:schemeClr val="bg1"/>
              </a:solidFill>
              <a:cs typeface="+mn-cs"/>
            </a:endParaRPr>
          </a:p>
        </p:txBody>
      </p:sp>
      <p:sp>
        <p:nvSpPr>
          <p:cNvPr id="43" name="Text Placeholder 3">
            <a:extLst>
              <a:ext uri="{FF2B5EF4-FFF2-40B4-BE49-F238E27FC236}">
                <a16:creationId xmlns:a16="http://schemas.microsoft.com/office/drawing/2014/main" id="{2DBB4447-15E5-EEA4-C7E2-80CA3A039D24}"/>
              </a:ext>
            </a:extLst>
          </p:cNvPr>
          <p:cNvSpPr>
            <a:spLocks noGrp="1"/>
          </p:cNvSpPr>
          <p:nvPr>
            <p:custDataLst>
              <p:tags r:id="rId7"/>
            </p:custDataLst>
          </p:nvPr>
        </p:nvSpPr>
        <p:spPr bwMode="auto">
          <a:xfrm>
            <a:off x="5105400" y="1695450"/>
            <a:ext cx="723900"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FE573355-3897-449B-8FF3-06141E36964D}" type="datetime'''''J''a''''''''''''''''''''''''''n'''''">
              <a:rPr lang="en-US" altLang="en-US" sz="1400" b="1" smtClean="0">
                <a:solidFill>
                  <a:schemeClr val="bg1"/>
                </a:solidFill>
                <a:effectLst/>
                <a:cs typeface="+mn-cs"/>
              </a:rPr>
              <a:pPr/>
              <a:t>Jan</a:t>
            </a:fld>
            <a:endParaRPr lang="en-US" sz="1400" b="1" dirty="0">
              <a:solidFill>
                <a:schemeClr val="bg1"/>
              </a:solidFill>
              <a:cs typeface="+mn-cs"/>
            </a:endParaRPr>
          </a:p>
        </p:txBody>
      </p:sp>
      <p:sp>
        <p:nvSpPr>
          <p:cNvPr id="45" name="Text Placeholder 3">
            <a:extLst>
              <a:ext uri="{FF2B5EF4-FFF2-40B4-BE49-F238E27FC236}">
                <a16:creationId xmlns:a16="http://schemas.microsoft.com/office/drawing/2014/main" id="{989DEFCC-A1CF-B48D-019A-5F66EEEE146F}"/>
              </a:ext>
            </a:extLst>
          </p:cNvPr>
          <p:cNvSpPr>
            <a:spLocks noGrp="1"/>
          </p:cNvSpPr>
          <p:nvPr>
            <p:custDataLst>
              <p:tags r:id="rId8"/>
            </p:custDataLst>
          </p:nvPr>
        </p:nvSpPr>
        <p:spPr bwMode="auto">
          <a:xfrm>
            <a:off x="5829300" y="1695450"/>
            <a:ext cx="654050"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1D5B0ACD-58A2-46ED-B468-C0F24EEA4DFC}" type="datetime'''''''''''''''''''F''''''''''''''''''''''''''''''''e''b'''''''">
              <a:rPr lang="en-US" altLang="en-US" sz="1400" b="1" smtClean="0">
                <a:solidFill>
                  <a:schemeClr val="bg1"/>
                </a:solidFill>
                <a:effectLst/>
                <a:cs typeface="+mn-cs"/>
              </a:rPr>
              <a:pPr/>
              <a:t>Feb</a:t>
            </a:fld>
            <a:endParaRPr lang="en-US" sz="1400" b="1" dirty="0">
              <a:solidFill>
                <a:schemeClr val="bg1"/>
              </a:solidFill>
              <a:cs typeface="+mn-cs"/>
            </a:endParaRPr>
          </a:p>
        </p:txBody>
      </p:sp>
      <p:sp>
        <p:nvSpPr>
          <p:cNvPr id="46" name="Text Placeholder 3">
            <a:extLst>
              <a:ext uri="{FF2B5EF4-FFF2-40B4-BE49-F238E27FC236}">
                <a16:creationId xmlns:a16="http://schemas.microsoft.com/office/drawing/2014/main" id="{B6E5A5EF-93A1-F646-7E64-F3303E0E59EE}"/>
              </a:ext>
            </a:extLst>
          </p:cNvPr>
          <p:cNvSpPr>
            <a:spLocks noGrp="1"/>
          </p:cNvSpPr>
          <p:nvPr>
            <p:custDataLst>
              <p:tags r:id="rId9"/>
            </p:custDataLst>
          </p:nvPr>
        </p:nvSpPr>
        <p:spPr bwMode="auto">
          <a:xfrm>
            <a:off x="6483350" y="1695450"/>
            <a:ext cx="723900"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62F196D4-B465-49E3-BB9F-DD84D1F2C13F}" type="datetime'''''''''''''''''''''''''''M''''''''''a''''''''r'''''">
              <a:rPr lang="en-US" altLang="en-US" sz="1400" b="1" smtClean="0">
                <a:solidFill>
                  <a:schemeClr val="bg1"/>
                </a:solidFill>
                <a:effectLst/>
                <a:cs typeface="+mn-cs"/>
              </a:rPr>
              <a:pPr/>
              <a:t>Mar</a:t>
            </a:fld>
            <a:endParaRPr lang="en-US" sz="1400" b="1" dirty="0">
              <a:solidFill>
                <a:schemeClr val="bg1"/>
              </a:solidFill>
              <a:cs typeface="+mn-cs"/>
            </a:endParaRPr>
          </a:p>
        </p:txBody>
      </p:sp>
      <p:sp>
        <p:nvSpPr>
          <p:cNvPr id="47" name="Text Placeholder 3">
            <a:extLst>
              <a:ext uri="{FF2B5EF4-FFF2-40B4-BE49-F238E27FC236}">
                <a16:creationId xmlns:a16="http://schemas.microsoft.com/office/drawing/2014/main" id="{269D5A0C-61C4-1B97-8692-2F46D62BF6FA}"/>
              </a:ext>
            </a:extLst>
          </p:cNvPr>
          <p:cNvSpPr>
            <a:spLocks noGrp="1"/>
          </p:cNvSpPr>
          <p:nvPr>
            <p:custDataLst>
              <p:tags r:id="rId10"/>
            </p:custDataLst>
          </p:nvPr>
        </p:nvSpPr>
        <p:spPr bwMode="auto">
          <a:xfrm>
            <a:off x="7207250" y="1695450"/>
            <a:ext cx="701675"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0BAE07F7-5FEE-4B33-8BFF-FB51CD88E075}" type="datetime'''''''''''''''''''''''''''A''''''''''p''''''r'''''''''''''''''">
              <a:rPr lang="en-US" altLang="en-US" sz="1400" b="1" smtClean="0">
                <a:solidFill>
                  <a:schemeClr val="bg1"/>
                </a:solidFill>
                <a:effectLst/>
                <a:cs typeface="+mn-cs"/>
              </a:rPr>
              <a:pPr/>
              <a:t>Apr</a:t>
            </a:fld>
            <a:endParaRPr lang="en-US" sz="1400" b="1" dirty="0">
              <a:solidFill>
                <a:schemeClr val="bg1"/>
              </a:solidFill>
              <a:cs typeface="+mn-cs"/>
            </a:endParaRPr>
          </a:p>
        </p:txBody>
      </p:sp>
      <p:sp>
        <p:nvSpPr>
          <p:cNvPr id="48" name="Text Placeholder 3">
            <a:extLst>
              <a:ext uri="{FF2B5EF4-FFF2-40B4-BE49-F238E27FC236}">
                <a16:creationId xmlns:a16="http://schemas.microsoft.com/office/drawing/2014/main" id="{2A2316D7-B18A-4BD3-20BC-91D266491859}"/>
              </a:ext>
            </a:extLst>
          </p:cNvPr>
          <p:cNvSpPr>
            <a:spLocks noGrp="1"/>
          </p:cNvSpPr>
          <p:nvPr>
            <p:custDataLst>
              <p:tags r:id="rId11"/>
            </p:custDataLst>
          </p:nvPr>
        </p:nvSpPr>
        <p:spPr bwMode="auto">
          <a:xfrm>
            <a:off x="7908925" y="1695450"/>
            <a:ext cx="723900"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171369C4-94B6-4E12-AC38-2AFD1B19F7DB}" type="datetime'''M''''''''''''''''a''''''''''y'">
              <a:rPr lang="en-US" altLang="en-US" sz="1400" b="1" smtClean="0">
                <a:solidFill>
                  <a:schemeClr val="bg1"/>
                </a:solidFill>
                <a:effectLst/>
                <a:cs typeface="+mn-cs"/>
              </a:rPr>
              <a:pPr/>
              <a:t>May</a:t>
            </a:fld>
            <a:endParaRPr lang="en-US" sz="1400" b="1" dirty="0">
              <a:solidFill>
                <a:schemeClr val="bg1"/>
              </a:solidFill>
              <a:cs typeface="+mn-cs"/>
            </a:endParaRPr>
          </a:p>
        </p:txBody>
      </p:sp>
      <p:sp>
        <p:nvSpPr>
          <p:cNvPr id="49" name="Text Placeholder 3">
            <a:extLst>
              <a:ext uri="{FF2B5EF4-FFF2-40B4-BE49-F238E27FC236}">
                <a16:creationId xmlns:a16="http://schemas.microsoft.com/office/drawing/2014/main" id="{F7EA93C2-5ED1-6A53-C756-8128065880CB}"/>
              </a:ext>
            </a:extLst>
          </p:cNvPr>
          <p:cNvSpPr>
            <a:spLocks noGrp="1"/>
          </p:cNvSpPr>
          <p:nvPr>
            <p:custDataLst>
              <p:tags r:id="rId12"/>
            </p:custDataLst>
          </p:nvPr>
        </p:nvSpPr>
        <p:spPr bwMode="auto">
          <a:xfrm>
            <a:off x="8632825" y="1695450"/>
            <a:ext cx="700088"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86D2D5E-97BD-4779-A9A4-56219BA60339}" type="datetime'''''''J''''''u''''''''''''''''''''n'''''''''''''''''''">
              <a:rPr lang="en-US" altLang="en-US" sz="1400" b="1" smtClean="0">
                <a:solidFill>
                  <a:schemeClr val="bg1"/>
                </a:solidFill>
                <a:effectLst/>
                <a:cs typeface="+mn-cs"/>
              </a:rPr>
              <a:pPr/>
              <a:t>Jun</a:t>
            </a:fld>
            <a:endParaRPr lang="en-US" sz="1400" b="1" dirty="0">
              <a:solidFill>
                <a:schemeClr val="bg1"/>
              </a:solidFill>
              <a:cs typeface="+mn-cs"/>
            </a:endParaRPr>
          </a:p>
        </p:txBody>
      </p:sp>
      <p:sp>
        <p:nvSpPr>
          <p:cNvPr id="59" name="Text Placeholder 3">
            <a:extLst>
              <a:ext uri="{FF2B5EF4-FFF2-40B4-BE49-F238E27FC236}">
                <a16:creationId xmlns:a16="http://schemas.microsoft.com/office/drawing/2014/main" id="{102F4A84-9188-A1E7-2200-D578653AA758}"/>
              </a:ext>
            </a:extLst>
          </p:cNvPr>
          <p:cNvSpPr>
            <a:spLocks noGrp="1"/>
          </p:cNvSpPr>
          <p:nvPr>
            <p:custDataLst>
              <p:tags r:id="rId13"/>
            </p:custDataLst>
          </p:nvPr>
        </p:nvSpPr>
        <p:spPr bwMode="auto">
          <a:xfrm>
            <a:off x="9332913" y="1695450"/>
            <a:ext cx="723900"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A4CD47E1-2439-4A6A-AA99-90074B363270}" type="datetime'''''''''''''''''''''''''''''''''J''''u''''''''''''''l'''''">
              <a:rPr lang="en-US" altLang="en-US" sz="1400" b="1" smtClean="0">
                <a:solidFill>
                  <a:schemeClr val="bg1"/>
                </a:solidFill>
                <a:effectLst/>
                <a:cs typeface="+mn-cs"/>
              </a:rPr>
              <a:pPr/>
              <a:t>Jul</a:t>
            </a:fld>
            <a:endParaRPr lang="en-US" sz="1400" b="1" dirty="0">
              <a:solidFill>
                <a:schemeClr val="bg1"/>
              </a:solidFill>
              <a:cs typeface="+mn-cs"/>
            </a:endParaRPr>
          </a:p>
        </p:txBody>
      </p:sp>
      <p:sp>
        <p:nvSpPr>
          <p:cNvPr id="62" name="Text Placeholder 3">
            <a:extLst>
              <a:ext uri="{FF2B5EF4-FFF2-40B4-BE49-F238E27FC236}">
                <a16:creationId xmlns:a16="http://schemas.microsoft.com/office/drawing/2014/main" id="{AD2D48D0-08F3-F01E-68CB-6BB647419F13}"/>
              </a:ext>
            </a:extLst>
          </p:cNvPr>
          <p:cNvSpPr>
            <a:spLocks noGrp="1"/>
          </p:cNvSpPr>
          <p:nvPr>
            <p:custDataLst>
              <p:tags r:id="rId14"/>
            </p:custDataLst>
          </p:nvPr>
        </p:nvSpPr>
        <p:spPr bwMode="auto">
          <a:xfrm>
            <a:off x="10056813" y="1695450"/>
            <a:ext cx="723900"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58EAB1D3-8439-422D-BAE4-69580F6C0961}" type="datetime'''''''''''''''''A''''''''''''''''''''''''''u''''''g'''''''''''">
              <a:rPr lang="en-US" altLang="en-US" sz="1400" b="1" smtClean="0">
                <a:solidFill>
                  <a:schemeClr val="bg1"/>
                </a:solidFill>
                <a:effectLst/>
                <a:cs typeface="+mn-cs"/>
              </a:rPr>
              <a:pPr/>
              <a:t>Aug</a:t>
            </a:fld>
            <a:endParaRPr lang="en-US" sz="1400" b="1" dirty="0">
              <a:solidFill>
                <a:schemeClr val="bg1"/>
              </a:solidFill>
              <a:cs typeface="+mn-cs"/>
            </a:endParaRPr>
          </a:p>
        </p:txBody>
      </p:sp>
      <p:sp>
        <p:nvSpPr>
          <p:cNvPr id="67" name="Text Placeholder 3">
            <a:extLst>
              <a:ext uri="{FF2B5EF4-FFF2-40B4-BE49-F238E27FC236}">
                <a16:creationId xmlns:a16="http://schemas.microsoft.com/office/drawing/2014/main" id="{FCFC24D0-4441-C2BB-41A9-8A14FD4DDF0B}"/>
              </a:ext>
            </a:extLst>
          </p:cNvPr>
          <p:cNvSpPr>
            <a:spLocks noGrp="1"/>
          </p:cNvSpPr>
          <p:nvPr>
            <p:custDataLst>
              <p:tags r:id="rId15"/>
            </p:custDataLst>
          </p:nvPr>
        </p:nvSpPr>
        <p:spPr bwMode="auto">
          <a:xfrm>
            <a:off x="10780713" y="1695450"/>
            <a:ext cx="700088" cy="260350"/>
          </a:xfrm>
          <a:prstGeom prst="rect">
            <a:avLst/>
          </a:prstGeom>
          <a:solidFill>
            <a:schemeClr val="tx2"/>
          </a:solidFill>
          <a:ln w="9525" cmpd="sng" algn="ctr">
            <a:solidFill>
              <a:schemeClr val="tx1"/>
            </a:solidFill>
          </a:ln>
          <a:effectLst/>
        </p:spPr>
        <p:txBody>
          <a:bodyPr vert="horz" wrap="none" lIns="0" tIns="23813" rIns="0" bIns="23813"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71885746-6703-4CE6-B7F7-B9AFE8D9C1D8}" type="datetime'''''''''''''''''''''''''''''''S''''''e''''p'''''''''">
              <a:rPr lang="en-US" altLang="en-US" sz="1400" b="1" smtClean="0">
                <a:solidFill>
                  <a:schemeClr val="bg1"/>
                </a:solidFill>
                <a:effectLst/>
                <a:cs typeface="+mn-cs"/>
              </a:rPr>
              <a:pPr/>
              <a:t>Sep</a:t>
            </a:fld>
            <a:endParaRPr lang="en-US" sz="1400" b="1" dirty="0">
              <a:solidFill>
                <a:schemeClr val="bg1"/>
              </a:solidFill>
              <a:cs typeface="+mn-cs"/>
            </a:endParaRPr>
          </a:p>
        </p:txBody>
      </p:sp>
      <p:cxnSp>
        <p:nvCxnSpPr>
          <p:cNvPr id="69" name="Straight Connector 68">
            <a:extLst>
              <a:ext uri="{FF2B5EF4-FFF2-40B4-BE49-F238E27FC236}">
                <a16:creationId xmlns:a16="http://schemas.microsoft.com/office/drawing/2014/main" id="{43202410-2ABD-DAE4-089B-FA99FB8282DE}"/>
              </a:ext>
            </a:extLst>
          </p:cNvPr>
          <p:cNvCxnSpPr/>
          <p:nvPr>
            <p:custDataLst>
              <p:tags r:id="rId16"/>
            </p:custDataLst>
          </p:nvPr>
        </p:nvCxnSpPr>
        <p:spPr bwMode="auto">
          <a:xfrm>
            <a:off x="10780713" y="1955800"/>
            <a:ext cx="0" cy="41783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394EB1DE-F438-3D6A-92DC-14ECFBBE874A}"/>
              </a:ext>
            </a:extLst>
          </p:cNvPr>
          <p:cNvCxnSpPr/>
          <p:nvPr>
            <p:custDataLst>
              <p:tags r:id="rId17"/>
            </p:custDataLst>
          </p:nvPr>
        </p:nvCxnSpPr>
        <p:spPr bwMode="auto">
          <a:xfrm>
            <a:off x="2257425" y="1955800"/>
            <a:ext cx="0" cy="41783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65337986-9BFA-2AF1-5FD2-28FD05BF3FDA}"/>
              </a:ext>
            </a:extLst>
          </p:cNvPr>
          <p:cNvCxnSpPr/>
          <p:nvPr>
            <p:custDataLst>
              <p:tags r:id="rId18"/>
            </p:custDataLst>
          </p:nvPr>
        </p:nvCxnSpPr>
        <p:spPr bwMode="auto">
          <a:xfrm>
            <a:off x="2957513" y="1955800"/>
            <a:ext cx="0" cy="41783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B3A1686A-10D6-51E7-6072-38B67666B947}"/>
              </a:ext>
            </a:extLst>
          </p:cNvPr>
          <p:cNvCxnSpPr/>
          <p:nvPr>
            <p:custDataLst>
              <p:tags r:id="rId19"/>
            </p:custDataLst>
          </p:nvPr>
        </p:nvCxnSpPr>
        <p:spPr bwMode="auto">
          <a:xfrm>
            <a:off x="3681413" y="1955800"/>
            <a:ext cx="0" cy="41783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3D618782-0BBA-2F76-48AD-FE2912293401}"/>
              </a:ext>
            </a:extLst>
          </p:cNvPr>
          <p:cNvCxnSpPr/>
          <p:nvPr>
            <p:custDataLst>
              <p:tags r:id="rId20"/>
            </p:custDataLst>
          </p:nvPr>
        </p:nvCxnSpPr>
        <p:spPr bwMode="auto">
          <a:xfrm>
            <a:off x="4381500" y="1955800"/>
            <a:ext cx="0" cy="41783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0E5ACC59-12E2-96C8-F7BF-2E2B3DA7F127}"/>
              </a:ext>
            </a:extLst>
          </p:cNvPr>
          <p:cNvCxnSpPr/>
          <p:nvPr>
            <p:custDataLst>
              <p:tags r:id="rId21"/>
            </p:custDataLst>
          </p:nvPr>
        </p:nvCxnSpPr>
        <p:spPr bwMode="auto">
          <a:xfrm>
            <a:off x="5105400" y="1955800"/>
            <a:ext cx="0" cy="41783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22E4E6A2-1987-C566-85EC-B4A2EB812929}"/>
              </a:ext>
            </a:extLst>
          </p:cNvPr>
          <p:cNvCxnSpPr/>
          <p:nvPr>
            <p:custDataLst>
              <p:tags r:id="rId22"/>
            </p:custDataLst>
          </p:nvPr>
        </p:nvCxnSpPr>
        <p:spPr bwMode="auto">
          <a:xfrm>
            <a:off x="5829300" y="1955800"/>
            <a:ext cx="0" cy="41783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D2B4B8C6-144A-CDFB-7C92-A1F3435BF08C}"/>
              </a:ext>
            </a:extLst>
          </p:cNvPr>
          <p:cNvCxnSpPr/>
          <p:nvPr>
            <p:custDataLst>
              <p:tags r:id="rId23"/>
            </p:custDataLst>
          </p:nvPr>
        </p:nvCxnSpPr>
        <p:spPr bwMode="auto">
          <a:xfrm>
            <a:off x="6483350" y="1955800"/>
            <a:ext cx="0" cy="41783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A1B38C68-2566-A3CD-3AA1-6D61E7DF49A2}"/>
              </a:ext>
            </a:extLst>
          </p:cNvPr>
          <p:cNvCxnSpPr/>
          <p:nvPr>
            <p:custDataLst>
              <p:tags r:id="rId24"/>
            </p:custDataLst>
          </p:nvPr>
        </p:nvCxnSpPr>
        <p:spPr bwMode="auto">
          <a:xfrm>
            <a:off x="7207250" y="1955800"/>
            <a:ext cx="0" cy="41783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85D45736-145E-3EB0-D220-095E6506D0DA}"/>
              </a:ext>
            </a:extLst>
          </p:cNvPr>
          <p:cNvCxnSpPr/>
          <p:nvPr>
            <p:custDataLst>
              <p:tags r:id="rId25"/>
            </p:custDataLst>
          </p:nvPr>
        </p:nvCxnSpPr>
        <p:spPr bwMode="auto">
          <a:xfrm>
            <a:off x="7908925" y="1955800"/>
            <a:ext cx="0" cy="41783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C2D0FA89-9588-1113-2503-F187152329F4}"/>
              </a:ext>
            </a:extLst>
          </p:cNvPr>
          <p:cNvCxnSpPr/>
          <p:nvPr>
            <p:custDataLst>
              <p:tags r:id="rId26"/>
            </p:custDataLst>
          </p:nvPr>
        </p:nvCxnSpPr>
        <p:spPr bwMode="auto">
          <a:xfrm>
            <a:off x="8632825" y="1955800"/>
            <a:ext cx="0" cy="41783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D369FFA4-7F34-1512-6527-A0571F3011A7}"/>
              </a:ext>
            </a:extLst>
          </p:cNvPr>
          <p:cNvCxnSpPr/>
          <p:nvPr>
            <p:custDataLst>
              <p:tags r:id="rId27"/>
            </p:custDataLst>
          </p:nvPr>
        </p:nvCxnSpPr>
        <p:spPr bwMode="auto">
          <a:xfrm>
            <a:off x="9332913" y="1955800"/>
            <a:ext cx="0" cy="41783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8D7609AC-0551-2D23-B71A-B731260238BF}"/>
              </a:ext>
            </a:extLst>
          </p:cNvPr>
          <p:cNvCxnSpPr/>
          <p:nvPr>
            <p:custDataLst>
              <p:tags r:id="rId28"/>
            </p:custDataLst>
          </p:nvPr>
        </p:nvCxnSpPr>
        <p:spPr bwMode="auto">
          <a:xfrm>
            <a:off x="1533525" y="1955800"/>
            <a:ext cx="0" cy="41783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3E206DFF-7A20-A4B1-2C82-0AF6C46C444E}"/>
              </a:ext>
            </a:extLst>
          </p:cNvPr>
          <p:cNvCxnSpPr/>
          <p:nvPr>
            <p:custDataLst>
              <p:tags r:id="rId29"/>
            </p:custDataLst>
          </p:nvPr>
        </p:nvCxnSpPr>
        <p:spPr bwMode="auto">
          <a:xfrm>
            <a:off x="11480800" y="1955800"/>
            <a:ext cx="0" cy="41783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E3C7CEC8-BAFD-B1ED-4428-11763D1B8C46}"/>
              </a:ext>
            </a:extLst>
          </p:cNvPr>
          <p:cNvCxnSpPr/>
          <p:nvPr>
            <p:custDataLst>
              <p:tags r:id="rId30"/>
            </p:custDataLst>
          </p:nvPr>
        </p:nvCxnSpPr>
        <p:spPr bwMode="auto">
          <a:xfrm>
            <a:off x="355600" y="1955800"/>
            <a:ext cx="0" cy="41783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7AD608CD-0BE2-0DDA-5AE9-6A6B18EE875A}"/>
              </a:ext>
            </a:extLst>
          </p:cNvPr>
          <p:cNvCxnSpPr/>
          <p:nvPr>
            <p:custDataLst>
              <p:tags r:id="rId31"/>
            </p:custDataLst>
          </p:nvPr>
        </p:nvCxnSpPr>
        <p:spPr bwMode="auto">
          <a:xfrm>
            <a:off x="10056813" y="1955800"/>
            <a:ext cx="0" cy="41783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70B1922C-7CF9-AB71-21BA-49451C63A5DA}"/>
              </a:ext>
            </a:extLst>
          </p:cNvPr>
          <p:cNvCxnSpPr/>
          <p:nvPr>
            <p:custDataLst>
              <p:tags r:id="rId32"/>
            </p:custDataLst>
          </p:nvPr>
        </p:nvCxnSpPr>
        <p:spPr bwMode="auto">
          <a:xfrm>
            <a:off x="355600" y="6134100"/>
            <a:ext cx="11125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CAEB78AA-7D1B-AF90-2D88-95F8EE62C3F8}"/>
              </a:ext>
            </a:extLst>
          </p:cNvPr>
          <p:cNvCxnSpPr/>
          <p:nvPr>
            <p:custDataLst>
              <p:tags r:id="rId33"/>
            </p:custDataLst>
          </p:nvPr>
        </p:nvCxnSpPr>
        <p:spPr bwMode="auto">
          <a:xfrm>
            <a:off x="355600" y="1955800"/>
            <a:ext cx="11125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4" name="Text Placeholder 3">
            <a:extLst>
              <a:ext uri="{FF2B5EF4-FFF2-40B4-BE49-F238E27FC236}">
                <a16:creationId xmlns:a16="http://schemas.microsoft.com/office/drawing/2014/main" id="{C93D737B-1E1A-694E-7E7E-C89CF667EBDB}"/>
              </a:ext>
            </a:extLst>
          </p:cNvPr>
          <p:cNvSpPr>
            <a:spLocks noGrp="1"/>
          </p:cNvSpPr>
          <p:nvPr>
            <p:custDataLst>
              <p:tags r:id="rId34"/>
            </p:custDataLst>
          </p:nvPr>
        </p:nvSpPr>
        <p:spPr bwMode="auto">
          <a:xfrm>
            <a:off x="10213975" y="4727575"/>
            <a:ext cx="1257300" cy="1177925"/>
          </a:xfrm>
          <a:prstGeom prst="chevron">
            <a:avLst>
              <a:gd name="adj" fmla="val 18194"/>
            </a:avLst>
          </a:prstGeom>
          <a:solidFill>
            <a:schemeClr val="accent2"/>
          </a:solidFill>
          <a:ln w="9525" cmpd="sng" algn="ctr">
            <a:solidFill>
              <a:schemeClr val="bg1"/>
            </a:solidFill>
          </a:ln>
          <a:effectLst/>
        </p:spPr>
        <p:txBody>
          <a:bodyPr vert="horz" wrap="none" lIns="90488" tIns="46038" rIns="0" bIns="46038"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200">
                <a:solidFill>
                  <a:schemeClr val="bg1">
                    <a:lumMod val="50000"/>
                  </a:schemeClr>
                </a:solidFill>
                <a:effectLst/>
                <a:cs typeface="+mn-cs"/>
              </a:rPr>
              <a:t>Implement </a:t>
            </a:r>
            <a:fld id="{C47535BC-CB73-47F7-880F-6BFE1C242947}" type="datetime' '">
              <a:rPr lang="en-US" altLang="en-US" sz="1200" smtClean="0">
                <a:solidFill>
                  <a:schemeClr val="bg1">
                    <a:lumMod val="50000"/>
                  </a:schemeClr>
                </a:solidFill>
                <a:effectLst/>
                <a:cs typeface="+mn-cs"/>
              </a:rPr>
              <a:pPr/>
              <a:t> </a:t>
            </a:fld>
            <a:br>
              <a:rPr lang="en-US" altLang="en-US" sz="1200">
                <a:solidFill>
                  <a:schemeClr val="bg1">
                    <a:lumMod val="50000"/>
                  </a:schemeClr>
                </a:solidFill>
                <a:effectLst/>
                <a:cs typeface="+mn-cs"/>
              </a:rPr>
            </a:br>
            <a:r>
              <a:rPr lang="en-US" altLang="en-US" sz="1200">
                <a:solidFill>
                  <a:schemeClr val="bg1">
                    <a:lumMod val="50000"/>
                  </a:schemeClr>
                </a:solidFill>
                <a:effectLst/>
                <a:cs typeface="+mn-cs"/>
              </a:rPr>
              <a:t>development </a:t>
            </a:r>
            <a:fld id="{431D29F7-1EF0-4E76-B0FF-70FCBA399F08}" type="datetime' '">
              <a:rPr lang="en-US" altLang="en-US" sz="1200" smtClean="0">
                <a:solidFill>
                  <a:schemeClr val="bg1">
                    <a:lumMod val="50000"/>
                  </a:schemeClr>
                </a:solidFill>
                <a:effectLst/>
                <a:cs typeface="+mn-cs"/>
              </a:rPr>
              <a:pPr/>
              <a:t> </a:t>
            </a:fld>
            <a:br>
              <a:rPr lang="en-US" altLang="en-US" sz="1200">
                <a:solidFill>
                  <a:schemeClr val="bg1">
                    <a:lumMod val="50000"/>
                  </a:schemeClr>
                </a:solidFill>
                <a:effectLst/>
                <a:cs typeface="+mn-cs"/>
              </a:rPr>
            </a:br>
            <a:r>
              <a:rPr lang="en-US" altLang="en-US" sz="1200">
                <a:solidFill>
                  <a:schemeClr val="bg1">
                    <a:lumMod val="50000"/>
                  </a:schemeClr>
                </a:solidFill>
                <a:effectLst/>
                <a:cs typeface="+mn-cs"/>
              </a:rPr>
              <a:t>offerings</a:t>
            </a:r>
            <a:endParaRPr lang="en-US" sz="1200" dirty="0">
              <a:solidFill>
                <a:schemeClr val="bg1">
                  <a:lumMod val="50000"/>
                </a:schemeClr>
              </a:solidFill>
              <a:cs typeface="+mn-cs"/>
            </a:endParaRPr>
          </a:p>
        </p:txBody>
      </p:sp>
      <p:sp>
        <p:nvSpPr>
          <p:cNvPr id="254" name="Text Placeholder 3">
            <a:extLst>
              <a:ext uri="{FF2B5EF4-FFF2-40B4-BE49-F238E27FC236}">
                <a16:creationId xmlns:a16="http://schemas.microsoft.com/office/drawing/2014/main" id="{09DD44EE-1C6B-010D-EC3F-9CC8DF4495DE}"/>
              </a:ext>
            </a:extLst>
          </p:cNvPr>
          <p:cNvSpPr>
            <a:spLocks noGrp="1"/>
          </p:cNvSpPr>
          <p:nvPr>
            <p:custDataLst>
              <p:tags r:id="rId35"/>
            </p:custDataLst>
          </p:nvPr>
        </p:nvSpPr>
        <p:spPr bwMode="auto">
          <a:xfrm>
            <a:off x="7154864" y="3455988"/>
            <a:ext cx="4316413" cy="1177925"/>
          </a:xfrm>
          <a:prstGeom prst="chevron">
            <a:avLst>
              <a:gd name="adj" fmla="val 18194"/>
            </a:avLst>
          </a:prstGeom>
          <a:solidFill>
            <a:srgbClr val="C3CFE1"/>
          </a:solidFill>
          <a:ln w="9525" cmpd="sng" algn="ctr">
            <a:solidFill>
              <a:schemeClr val="bg1"/>
            </a:solidFill>
          </a:ln>
          <a:effectLst/>
        </p:spPr>
        <p:txBody>
          <a:bodyPr vert="horz" wrap="none" lIns="90488" tIns="46038" rIns="0" bIns="46038"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200" dirty="0">
                <a:solidFill>
                  <a:schemeClr val="bg1">
                    <a:lumMod val="50000"/>
                  </a:schemeClr>
                </a:solidFill>
                <a:cs typeface="+mn-cs"/>
              </a:rPr>
              <a:t>Gather data and u</a:t>
            </a:r>
            <a:r>
              <a:rPr lang="en-US" altLang="en-US" sz="1200" dirty="0">
                <a:solidFill>
                  <a:schemeClr val="bg1">
                    <a:lumMod val="50000"/>
                  </a:schemeClr>
                </a:solidFill>
                <a:effectLst/>
                <a:cs typeface="+mn-cs"/>
              </a:rPr>
              <a:t>pdate readiness assessments</a:t>
            </a:r>
            <a:endParaRPr lang="en-US" sz="1200" dirty="0">
              <a:solidFill>
                <a:schemeClr val="bg1">
                  <a:lumMod val="50000"/>
                </a:schemeClr>
              </a:solidFill>
              <a:cs typeface="+mn-cs"/>
            </a:endParaRPr>
          </a:p>
        </p:txBody>
      </p:sp>
      <p:sp>
        <p:nvSpPr>
          <p:cNvPr id="71" name="Text Placeholder 3">
            <a:extLst>
              <a:ext uri="{FF2B5EF4-FFF2-40B4-BE49-F238E27FC236}">
                <a16:creationId xmlns:a16="http://schemas.microsoft.com/office/drawing/2014/main" id="{F1C60CF1-EDBA-F8D3-1652-240883E9D8F4}"/>
              </a:ext>
            </a:extLst>
          </p:cNvPr>
          <p:cNvSpPr>
            <a:spLocks noGrp="1"/>
          </p:cNvSpPr>
          <p:nvPr>
            <p:custDataLst>
              <p:tags r:id="rId36"/>
            </p:custDataLst>
          </p:nvPr>
        </p:nvSpPr>
        <p:spPr bwMode="auto">
          <a:xfrm>
            <a:off x="9886950" y="2184400"/>
            <a:ext cx="1584325" cy="1177925"/>
          </a:xfrm>
          <a:prstGeom prst="chevron">
            <a:avLst>
              <a:gd name="adj" fmla="val 18194"/>
            </a:avLst>
          </a:prstGeom>
          <a:solidFill>
            <a:srgbClr val="9AA4C3"/>
          </a:solidFill>
          <a:ln w="9525" cmpd="sng" algn="ctr">
            <a:solidFill>
              <a:schemeClr val="bg1"/>
            </a:solidFill>
          </a:ln>
          <a:effectLst/>
        </p:spPr>
        <p:txBody>
          <a:bodyPr vert="horz" wrap="square" lIns="90488" tIns="46038" rIns="0" bIns="46038"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200" b="1" dirty="0">
                <a:solidFill>
                  <a:schemeClr val="bg1"/>
                </a:solidFill>
                <a:effectLst/>
                <a:cs typeface="+mn-cs"/>
              </a:rPr>
              <a:t>Forecast for the subsequent year</a:t>
            </a:r>
            <a:endParaRPr lang="en-US" sz="1200" b="1" dirty="0">
              <a:solidFill>
                <a:schemeClr val="bg1"/>
              </a:solidFill>
              <a:cs typeface="+mn-cs"/>
            </a:endParaRPr>
          </a:p>
        </p:txBody>
      </p:sp>
      <p:sp>
        <p:nvSpPr>
          <p:cNvPr id="243" name="Text Placeholder 3">
            <a:extLst>
              <a:ext uri="{FF2B5EF4-FFF2-40B4-BE49-F238E27FC236}">
                <a16:creationId xmlns:a16="http://schemas.microsoft.com/office/drawing/2014/main" id="{1E0D69BB-CF6C-0551-5424-7363FB230528}"/>
              </a:ext>
            </a:extLst>
          </p:cNvPr>
          <p:cNvSpPr>
            <a:spLocks noGrp="1"/>
          </p:cNvSpPr>
          <p:nvPr>
            <p:custDataLst>
              <p:tags r:id="rId37"/>
            </p:custDataLst>
          </p:nvPr>
        </p:nvSpPr>
        <p:spPr bwMode="auto">
          <a:xfrm>
            <a:off x="3186113" y="2184400"/>
            <a:ext cx="6916738" cy="1177925"/>
          </a:xfrm>
          <a:prstGeom prst="chevron">
            <a:avLst>
              <a:gd name="adj" fmla="val 18194"/>
            </a:avLst>
          </a:prstGeom>
          <a:solidFill>
            <a:srgbClr val="DBDDE8"/>
          </a:solidFill>
          <a:ln w="9525" cmpd="sng" algn="ctr">
            <a:solidFill>
              <a:schemeClr val="bg1"/>
            </a:solidFill>
          </a:ln>
          <a:effectLst/>
        </p:spPr>
        <p:txBody>
          <a:bodyPr vert="horz" wrap="none" lIns="90488" tIns="46038" rIns="0" bIns="46038"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200" dirty="0">
                <a:solidFill>
                  <a:schemeClr val="bg1">
                    <a:lumMod val="50000"/>
                  </a:schemeClr>
                </a:solidFill>
                <a:effectLst/>
                <a:cs typeface="+mn-cs"/>
              </a:rPr>
              <a:t>Update vacancy projections based on new data</a:t>
            </a:r>
            <a:endParaRPr lang="en-US" sz="1200" dirty="0">
              <a:solidFill>
                <a:schemeClr val="bg1">
                  <a:lumMod val="50000"/>
                </a:schemeClr>
              </a:solidFill>
              <a:cs typeface="+mn-cs"/>
            </a:endParaRPr>
          </a:p>
        </p:txBody>
      </p:sp>
      <p:sp>
        <p:nvSpPr>
          <p:cNvPr id="215" name="Text Placeholder 3">
            <a:extLst>
              <a:ext uri="{FF2B5EF4-FFF2-40B4-BE49-F238E27FC236}">
                <a16:creationId xmlns:a16="http://schemas.microsoft.com/office/drawing/2014/main" id="{DBDE4405-8C1C-0310-A2D4-6306FF4B492E}"/>
              </a:ext>
            </a:extLst>
          </p:cNvPr>
          <p:cNvSpPr>
            <a:spLocks noGrp="1"/>
          </p:cNvSpPr>
          <p:nvPr>
            <p:custDataLst>
              <p:tags r:id="rId38"/>
            </p:custDataLst>
          </p:nvPr>
        </p:nvSpPr>
        <p:spPr bwMode="auto">
          <a:xfrm>
            <a:off x="8578850" y="4727575"/>
            <a:ext cx="1851025" cy="1177925"/>
          </a:xfrm>
          <a:prstGeom prst="chevron">
            <a:avLst>
              <a:gd name="adj" fmla="val 18194"/>
            </a:avLst>
          </a:prstGeom>
          <a:solidFill>
            <a:schemeClr val="accent1"/>
          </a:solidFill>
          <a:ln w="9525" cmpd="sng" algn="ctr">
            <a:solidFill>
              <a:schemeClr val="bg1"/>
            </a:solidFill>
          </a:ln>
          <a:effectLst/>
        </p:spPr>
        <p:txBody>
          <a:bodyPr vert="horz" wrap="square" lIns="90488" tIns="46038" rIns="44450" bIns="46038"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200" b="1">
                <a:solidFill>
                  <a:schemeClr val="bg1"/>
                </a:solidFill>
                <a:effectLst/>
                <a:cs typeface="+mn-cs"/>
              </a:rPr>
              <a:t>Plan development strategy and match future leaders to offerings</a:t>
            </a:r>
            <a:endParaRPr lang="en-US" sz="1200" b="1" dirty="0">
              <a:solidFill>
                <a:schemeClr val="bg1"/>
              </a:solidFill>
              <a:cs typeface="+mn-cs"/>
            </a:endParaRPr>
          </a:p>
        </p:txBody>
      </p:sp>
      <p:sp>
        <p:nvSpPr>
          <p:cNvPr id="188" name="Text Placeholder 3">
            <a:extLst>
              <a:ext uri="{FF2B5EF4-FFF2-40B4-BE49-F238E27FC236}">
                <a16:creationId xmlns:a16="http://schemas.microsoft.com/office/drawing/2014/main" id="{159B3E16-1734-571D-7C9A-CD051F3DCCD5}"/>
              </a:ext>
            </a:extLst>
          </p:cNvPr>
          <p:cNvSpPr>
            <a:spLocks noGrp="1"/>
          </p:cNvSpPr>
          <p:nvPr>
            <p:custDataLst>
              <p:tags r:id="rId39"/>
            </p:custDataLst>
          </p:nvPr>
        </p:nvSpPr>
        <p:spPr bwMode="auto">
          <a:xfrm>
            <a:off x="5613400" y="3455988"/>
            <a:ext cx="1757363" cy="1177925"/>
          </a:xfrm>
          <a:prstGeom prst="chevron">
            <a:avLst>
              <a:gd name="adj" fmla="val 18194"/>
            </a:avLst>
          </a:prstGeom>
          <a:solidFill>
            <a:schemeClr val="tx2"/>
          </a:solidFill>
          <a:ln w="9525" cmpd="sng" algn="ctr">
            <a:solidFill>
              <a:schemeClr val="bg1"/>
            </a:solidFill>
          </a:ln>
          <a:effectLst/>
        </p:spPr>
        <p:txBody>
          <a:bodyPr vert="horz" wrap="square" lIns="90488" tIns="46038" rIns="80963" bIns="46038"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sz="1200" b="1" dirty="0">
                <a:solidFill>
                  <a:schemeClr val="bg1"/>
                </a:solidFill>
                <a:cs typeface="+mn-cs"/>
              </a:rPr>
              <a:t>Assess future leader readiness</a:t>
            </a:r>
          </a:p>
        </p:txBody>
      </p:sp>
      <p:sp>
        <p:nvSpPr>
          <p:cNvPr id="227" name="Text Placeholder 3">
            <a:extLst>
              <a:ext uri="{FF2B5EF4-FFF2-40B4-BE49-F238E27FC236}">
                <a16:creationId xmlns:a16="http://schemas.microsoft.com/office/drawing/2014/main" id="{A0B7FF6E-5664-83D4-0D35-758D39571575}"/>
              </a:ext>
            </a:extLst>
          </p:cNvPr>
          <p:cNvSpPr>
            <a:spLocks noGrp="1"/>
          </p:cNvSpPr>
          <p:nvPr>
            <p:custDataLst>
              <p:tags r:id="rId40"/>
            </p:custDataLst>
          </p:nvPr>
        </p:nvSpPr>
        <p:spPr bwMode="auto">
          <a:xfrm>
            <a:off x="1543050" y="2184400"/>
            <a:ext cx="1858963" cy="1177925"/>
          </a:xfrm>
          <a:prstGeom prst="homePlate">
            <a:avLst>
              <a:gd name="adj" fmla="val 18194"/>
            </a:avLst>
          </a:prstGeom>
          <a:solidFill>
            <a:srgbClr val="9AA4C3"/>
          </a:solidFill>
          <a:ln w="9525" cmpd="sng" algn="ctr">
            <a:solidFill>
              <a:schemeClr val="bg1"/>
            </a:solidFill>
          </a:ln>
          <a:effectLst/>
        </p:spPr>
        <p:txBody>
          <a:bodyPr vert="horz" wrap="square" lIns="90488" tIns="46038" rIns="12700" bIns="46038"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200" b="1" dirty="0">
                <a:solidFill>
                  <a:schemeClr val="bg1"/>
                </a:solidFill>
                <a:effectLst/>
                <a:cs typeface="+mn-cs"/>
              </a:rPr>
              <a:t>Forecast potential vacancies for next year / Identify difficult-to-fill positions</a:t>
            </a:r>
            <a:endParaRPr lang="en-US" sz="1200" b="1" dirty="0">
              <a:solidFill>
                <a:schemeClr val="bg1"/>
              </a:solidFill>
              <a:cs typeface="+mn-cs"/>
            </a:endParaRPr>
          </a:p>
        </p:txBody>
      </p:sp>
      <p:sp>
        <p:nvSpPr>
          <p:cNvPr id="271" name="Text Placeholder 3">
            <a:extLst>
              <a:ext uri="{FF2B5EF4-FFF2-40B4-BE49-F238E27FC236}">
                <a16:creationId xmlns:a16="http://schemas.microsoft.com/office/drawing/2014/main" id="{F655F867-BA16-76FF-41BE-60050BCF0E5C}"/>
              </a:ext>
            </a:extLst>
          </p:cNvPr>
          <p:cNvSpPr>
            <a:spLocks noGrp="1"/>
          </p:cNvSpPr>
          <p:nvPr>
            <p:custDataLst>
              <p:tags r:id="rId41"/>
            </p:custDataLst>
          </p:nvPr>
        </p:nvSpPr>
        <p:spPr bwMode="auto">
          <a:xfrm>
            <a:off x="1543050" y="3455988"/>
            <a:ext cx="4286250" cy="1177925"/>
          </a:xfrm>
          <a:prstGeom prst="homePlate">
            <a:avLst>
              <a:gd name="adj" fmla="val 18194"/>
            </a:avLst>
          </a:prstGeom>
          <a:solidFill>
            <a:srgbClr val="C3CFE1"/>
          </a:solidFill>
          <a:ln w="9525" cmpd="sng" algn="ctr">
            <a:solidFill>
              <a:schemeClr val="bg1"/>
            </a:solidFill>
          </a:ln>
          <a:effectLst/>
        </p:spPr>
        <p:txBody>
          <a:bodyPr vert="horz" wrap="none" lIns="90488" tIns="46038" rIns="0" bIns="46038"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200" dirty="0">
                <a:solidFill>
                  <a:schemeClr val="bg1">
                    <a:lumMod val="50000"/>
                  </a:schemeClr>
                </a:solidFill>
                <a:effectLst/>
                <a:cs typeface="+mn-cs"/>
              </a:rPr>
              <a:t>Gather data to inform readiness assessment</a:t>
            </a:r>
            <a:endParaRPr lang="en-US" sz="1200" dirty="0">
              <a:solidFill>
                <a:schemeClr val="bg1">
                  <a:lumMod val="50000"/>
                </a:schemeClr>
              </a:solidFill>
              <a:cs typeface="+mn-cs"/>
            </a:endParaRPr>
          </a:p>
        </p:txBody>
      </p:sp>
      <p:sp>
        <p:nvSpPr>
          <p:cNvPr id="70" name="Text Placeholder 3">
            <a:extLst>
              <a:ext uri="{FF2B5EF4-FFF2-40B4-BE49-F238E27FC236}">
                <a16:creationId xmlns:a16="http://schemas.microsoft.com/office/drawing/2014/main" id="{05C77577-6565-59D2-3D93-52FE4ED2F934}"/>
              </a:ext>
            </a:extLst>
          </p:cNvPr>
          <p:cNvSpPr>
            <a:spLocks noGrp="1"/>
          </p:cNvSpPr>
          <p:nvPr>
            <p:custDataLst>
              <p:tags r:id="rId42"/>
            </p:custDataLst>
          </p:nvPr>
        </p:nvSpPr>
        <p:spPr bwMode="auto">
          <a:xfrm>
            <a:off x="1543049" y="4727575"/>
            <a:ext cx="7251700" cy="1177925"/>
          </a:xfrm>
          <a:prstGeom prst="homePlate">
            <a:avLst>
              <a:gd name="adj" fmla="val 18194"/>
            </a:avLst>
          </a:prstGeom>
          <a:solidFill>
            <a:schemeClr val="accent2"/>
          </a:solidFill>
          <a:ln w="9525" cmpd="sng" algn="ctr">
            <a:solidFill>
              <a:schemeClr val="bg1"/>
            </a:solidFill>
          </a:ln>
          <a:effectLst/>
        </p:spPr>
        <p:txBody>
          <a:bodyPr vert="horz" wrap="none" lIns="90488" tIns="46038" rIns="0" bIns="46038" rtlCol="0" anchor="ct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200" dirty="0">
                <a:solidFill>
                  <a:schemeClr val="bg1">
                    <a:lumMod val="50000"/>
                  </a:schemeClr>
                </a:solidFill>
                <a:effectLst/>
                <a:cs typeface="+mn-cs"/>
              </a:rPr>
              <a:t>Launch development offerings for the year</a:t>
            </a:r>
            <a:endParaRPr lang="en-US" sz="1200" dirty="0">
              <a:solidFill>
                <a:schemeClr val="bg1">
                  <a:lumMod val="50000"/>
                </a:schemeClr>
              </a:solidFill>
              <a:cs typeface="+mn-cs"/>
            </a:endParaRPr>
          </a:p>
        </p:txBody>
      </p:sp>
      <p:sp>
        <p:nvSpPr>
          <p:cNvPr id="26" name="Text Placeholder 3">
            <a:extLst>
              <a:ext uri="{FF2B5EF4-FFF2-40B4-BE49-F238E27FC236}">
                <a16:creationId xmlns:a16="http://schemas.microsoft.com/office/drawing/2014/main" id="{480B4C03-8849-16D6-9089-3FF9704F76F0}"/>
              </a:ext>
            </a:extLst>
          </p:cNvPr>
          <p:cNvSpPr>
            <a:spLocks noGrp="1"/>
          </p:cNvSpPr>
          <p:nvPr>
            <p:custDataLst>
              <p:tags r:id="rId43"/>
            </p:custDataLst>
          </p:nvPr>
        </p:nvSpPr>
        <p:spPr bwMode="auto">
          <a:xfrm>
            <a:off x="427038" y="5041900"/>
            <a:ext cx="963613" cy="549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800" b="1" dirty="0">
                <a:solidFill>
                  <a:schemeClr val="accent1"/>
                </a:solidFill>
                <a:effectLst/>
                <a:cs typeface="+mn-cs"/>
              </a:rPr>
              <a:t>Invest &amp; </a:t>
            </a:r>
          </a:p>
          <a:p>
            <a:pPr lvl="0">
              <a:spcBef>
                <a:spcPct val="0"/>
              </a:spcBef>
              <a:spcAft>
                <a:spcPct val="0"/>
              </a:spcAft>
            </a:pPr>
            <a:r>
              <a:rPr lang="en-US" sz="1800" b="1" dirty="0">
                <a:solidFill>
                  <a:schemeClr val="accent1"/>
                </a:solidFill>
                <a:cs typeface="+mn-cs"/>
              </a:rPr>
              <a:t>Develop</a:t>
            </a:r>
          </a:p>
        </p:txBody>
      </p:sp>
      <p:sp>
        <p:nvSpPr>
          <p:cNvPr id="25" name="Text Placeholder 3">
            <a:extLst>
              <a:ext uri="{FF2B5EF4-FFF2-40B4-BE49-F238E27FC236}">
                <a16:creationId xmlns:a16="http://schemas.microsoft.com/office/drawing/2014/main" id="{73C2F318-F077-F7E2-1EFE-908D0F2E7D26}"/>
              </a:ext>
            </a:extLst>
          </p:cNvPr>
          <p:cNvSpPr>
            <a:spLocks noGrp="1"/>
          </p:cNvSpPr>
          <p:nvPr>
            <p:custDataLst>
              <p:tags r:id="rId44"/>
            </p:custDataLst>
          </p:nvPr>
        </p:nvSpPr>
        <p:spPr bwMode="auto">
          <a:xfrm>
            <a:off x="427038" y="3770313"/>
            <a:ext cx="900113" cy="549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800" b="1" dirty="0">
                <a:solidFill>
                  <a:schemeClr val="tx2"/>
                </a:solidFill>
                <a:effectLst/>
                <a:cs typeface="+mn-cs"/>
              </a:rPr>
              <a:t>Identify </a:t>
            </a:r>
          </a:p>
          <a:p>
            <a:pPr lvl="0">
              <a:spcBef>
                <a:spcPct val="0"/>
              </a:spcBef>
              <a:spcAft>
                <a:spcPct val="0"/>
              </a:spcAft>
            </a:pPr>
            <a:r>
              <a:rPr lang="en-US" sz="1800" b="1" dirty="0">
                <a:solidFill>
                  <a:schemeClr val="tx2"/>
                </a:solidFill>
                <a:cs typeface="+mn-cs"/>
              </a:rPr>
              <a:t>Leaders</a:t>
            </a:r>
          </a:p>
        </p:txBody>
      </p:sp>
      <p:sp>
        <p:nvSpPr>
          <p:cNvPr id="23" name="Text Placeholder 3">
            <a:extLst>
              <a:ext uri="{FF2B5EF4-FFF2-40B4-BE49-F238E27FC236}">
                <a16:creationId xmlns:a16="http://schemas.microsoft.com/office/drawing/2014/main" id="{1D008877-3CD7-83D3-E2B8-36AC954CA370}"/>
              </a:ext>
            </a:extLst>
          </p:cNvPr>
          <p:cNvSpPr>
            <a:spLocks noGrp="1"/>
          </p:cNvSpPr>
          <p:nvPr>
            <p:custDataLst>
              <p:tags r:id="rId45"/>
            </p:custDataLst>
          </p:nvPr>
        </p:nvSpPr>
        <p:spPr bwMode="auto">
          <a:xfrm>
            <a:off x="427038" y="2498725"/>
            <a:ext cx="1035050" cy="549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2400" kern="120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2400" kern="120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400" rtl="0" eaLnBrk="1" latinLnBrk="0" hangingPunct="1">
              <a:lnSpc>
                <a:spcPct val="100000"/>
              </a:lnSpc>
              <a:spcBef>
                <a:spcPts val="0"/>
              </a:spcBef>
              <a:spcAft>
                <a:spcPts val="600"/>
              </a:spcAft>
              <a:buClr>
                <a:schemeClr val="accent1"/>
              </a:buClr>
              <a:buSzPct val="100000"/>
              <a:buFont typeface="Gill Sans Nova" panose="020B0502020204020203" pitchFamily="34" charset="0"/>
              <a:buChar char="◦"/>
              <a:defRPr sz="2400" kern="1200">
                <a:solidFill>
                  <a:schemeClr val="tx1"/>
                </a:solidFill>
                <a:latin typeface="+mn-lt"/>
                <a:ea typeface="+mn-ea"/>
                <a:cs typeface="Arial" panose="020B0604020202020204" pitchFamily="34" charset="0"/>
              </a:defRPr>
            </a:lvl6pPr>
            <a:lvl7pPr marL="1080000" indent="-180000" algn="l" defTabSz="914400" rtl="0" eaLnBrk="1" latinLnBrk="0" hangingPunct="1">
              <a:lnSpc>
                <a:spcPct val="100000"/>
              </a:lnSpc>
              <a:spcBef>
                <a:spcPts val="0"/>
              </a:spcBef>
              <a:spcAft>
                <a:spcPts val="600"/>
              </a:spcAft>
              <a:buClr>
                <a:schemeClr val="accent1"/>
              </a:buClr>
              <a:buFont typeface="Gill Sans Nova" panose="020B0502020204020203" pitchFamily="34" charset="0"/>
              <a:buChar char="▫"/>
              <a:defRPr sz="2400" kern="1200">
                <a:solidFill>
                  <a:schemeClr val="tx1"/>
                </a:solidFill>
                <a:latin typeface="+mn-lt"/>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800" b="1" dirty="0">
                <a:solidFill>
                  <a:srgbClr val="9AA4C3"/>
                </a:solidFill>
                <a:effectLst/>
                <a:cs typeface="+mn-cs"/>
              </a:rPr>
              <a:t>Forecast </a:t>
            </a:r>
          </a:p>
          <a:p>
            <a:pPr lvl="0">
              <a:spcBef>
                <a:spcPct val="0"/>
              </a:spcBef>
              <a:spcAft>
                <a:spcPct val="0"/>
              </a:spcAft>
            </a:pPr>
            <a:r>
              <a:rPr lang="en-US" altLang="en-US" sz="1800" b="1" dirty="0">
                <a:solidFill>
                  <a:srgbClr val="9AA4C3"/>
                </a:solidFill>
                <a:effectLst/>
                <a:cs typeface="+mn-cs"/>
              </a:rPr>
              <a:t>Vacancies</a:t>
            </a:r>
            <a:endParaRPr lang="en-US" sz="1800" b="1" dirty="0">
              <a:solidFill>
                <a:srgbClr val="9AA4C3"/>
              </a:solidFill>
              <a:cs typeface="+mn-cs"/>
            </a:endParaRPr>
          </a:p>
        </p:txBody>
      </p:sp>
    </p:spTree>
    <p:extLst>
      <p:ext uri="{BB962C8B-B14F-4D97-AF65-F5344CB8AC3E}">
        <p14:creationId xmlns:p14="http://schemas.microsoft.com/office/powerpoint/2010/main" val="6054132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3D6DD84-9E78-ABA4-CC41-374C3A77CB63}"/>
              </a:ext>
            </a:extLst>
          </p:cNvPr>
          <p:cNvGraphicFramePr>
            <a:graphicFrameLocks noChangeAspect="1"/>
          </p:cNvGraphicFramePr>
          <p:nvPr>
            <p:custDataLst>
              <p:tags r:id="rId1"/>
            </p:custDataLst>
            <p:extLst>
              <p:ext uri="{D42A27DB-BD31-4B8C-83A1-F6EECF244321}">
                <p14:modId xmlns:p14="http://schemas.microsoft.com/office/powerpoint/2010/main" val="1422480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03D6DD84-9E78-ABA4-CC41-374C3A77CB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C1B9843-0FC0-2D66-60AB-55652C4E1156}"/>
              </a:ext>
            </a:extLst>
          </p:cNvPr>
          <p:cNvSpPr>
            <a:spLocks noGrp="1"/>
          </p:cNvSpPr>
          <p:nvPr>
            <p:ph type="title"/>
          </p:nvPr>
        </p:nvSpPr>
        <p:spPr/>
        <p:txBody>
          <a:bodyPr vert="horz"/>
          <a:lstStyle/>
          <a:p>
            <a:r>
              <a:rPr lang="en-US" dirty="0"/>
              <a:t>Multiple stakeholder groups hold data and serve functions important to the Vacancy Planning Cycle</a:t>
            </a:r>
          </a:p>
        </p:txBody>
      </p:sp>
      <p:pic>
        <p:nvPicPr>
          <p:cNvPr id="24" name="Picture 23">
            <a:extLst>
              <a:ext uri="{FF2B5EF4-FFF2-40B4-BE49-F238E27FC236}">
                <a16:creationId xmlns:a16="http://schemas.microsoft.com/office/drawing/2014/main" id="{48E492D6-A36D-3960-9183-E7410F219A7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500" y="1501900"/>
            <a:ext cx="1146050" cy="1146050"/>
          </a:xfrm>
          <a:prstGeom prst="rect">
            <a:avLst/>
          </a:prstGeom>
        </p:spPr>
      </p:pic>
      <p:pic>
        <p:nvPicPr>
          <p:cNvPr id="25" name="Picture 24">
            <a:extLst>
              <a:ext uri="{FF2B5EF4-FFF2-40B4-BE49-F238E27FC236}">
                <a16:creationId xmlns:a16="http://schemas.microsoft.com/office/drawing/2014/main" id="{D4F90113-8A3C-F77F-6C21-97A437D47E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23500" y="1501900"/>
            <a:ext cx="1146050" cy="1146050"/>
          </a:xfrm>
          <a:prstGeom prst="rect">
            <a:avLst/>
          </a:prstGeom>
        </p:spPr>
      </p:pic>
      <p:pic>
        <p:nvPicPr>
          <p:cNvPr id="26" name="Picture 25">
            <a:extLst>
              <a:ext uri="{FF2B5EF4-FFF2-40B4-BE49-F238E27FC236}">
                <a16:creationId xmlns:a16="http://schemas.microsoft.com/office/drawing/2014/main" id="{CCF8E4E1-2787-F379-0D0D-9A5F0A25255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52012" y="1501900"/>
            <a:ext cx="1146050" cy="1146050"/>
          </a:xfrm>
          <a:prstGeom prst="rect">
            <a:avLst/>
          </a:prstGeom>
        </p:spPr>
      </p:pic>
      <p:pic>
        <p:nvPicPr>
          <p:cNvPr id="27" name="Picture 26">
            <a:extLst>
              <a:ext uri="{FF2B5EF4-FFF2-40B4-BE49-F238E27FC236}">
                <a16:creationId xmlns:a16="http://schemas.microsoft.com/office/drawing/2014/main" id="{3242A22A-17C4-B018-56DD-4F209F86724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5036" y="1501900"/>
            <a:ext cx="1143002" cy="1146050"/>
          </a:xfrm>
          <a:prstGeom prst="rect">
            <a:avLst/>
          </a:prstGeom>
        </p:spPr>
      </p:pic>
      <p:pic>
        <p:nvPicPr>
          <p:cNvPr id="28" name="Picture 27">
            <a:extLst>
              <a:ext uri="{FF2B5EF4-FFF2-40B4-BE49-F238E27FC236}">
                <a16:creationId xmlns:a16="http://schemas.microsoft.com/office/drawing/2014/main" id="{0EE0C7D7-C9C0-63FF-B627-3F2EF4F65EF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43524" y="1501900"/>
            <a:ext cx="1146050" cy="1146050"/>
          </a:xfrm>
          <a:prstGeom prst="rect">
            <a:avLst/>
          </a:prstGeom>
        </p:spPr>
      </p:pic>
      <p:sp>
        <p:nvSpPr>
          <p:cNvPr id="29" name="TextBox 28">
            <a:extLst>
              <a:ext uri="{FF2B5EF4-FFF2-40B4-BE49-F238E27FC236}">
                <a16:creationId xmlns:a16="http://schemas.microsoft.com/office/drawing/2014/main" id="{52F6E148-8EE8-AAB3-2A36-6885826E42C6}"/>
              </a:ext>
            </a:extLst>
          </p:cNvPr>
          <p:cNvSpPr txBox="1"/>
          <p:nvPr/>
        </p:nvSpPr>
        <p:spPr>
          <a:xfrm>
            <a:off x="509588" y="2895600"/>
            <a:ext cx="2047875" cy="2646878"/>
          </a:xfrm>
          <a:prstGeom prst="rect">
            <a:avLst/>
          </a:prstGeom>
          <a:noFill/>
        </p:spPr>
        <p:txBody>
          <a:bodyPr wrap="square" rtlCol="0">
            <a:spAutoFit/>
          </a:bodyPr>
          <a:lstStyle/>
          <a:p>
            <a:pPr algn="ctr"/>
            <a:r>
              <a:rPr lang="en-US" b="1" dirty="0">
                <a:solidFill>
                  <a:schemeClr val="tx2"/>
                </a:solidFill>
              </a:rPr>
              <a:t>Senior District Leaders</a:t>
            </a:r>
          </a:p>
          <a:p>
            <a:pPr algn="ctr"/>
            <a:endParaRPr lang="en-US" b="1" dirty="0">
              <a:solidFill>
                <a:schemeClr val="tx2"/>
              </a:solidFill>
            </a:endParaRPr>
          </a:p>
          <a:p>
            <a:pPr algn="ctr"/>
            <a:r>
              <a:rPr lang="en-US" sz="1400" i="1" dirty="0">
                <a:solidFill>
                  <a:srgbClr val="9AA4C3"/>
                </a:solidFill>
              </a:rPr>
              <a:t>What data do they hold?</a:t>
            </a:r>
          </a:p>
          <a:p>
            <a:pPr algn="ctr"/>
            <a:r>
              <a:rPr lang="en-US" sz="1400" i="1" dirty="0">
                <a:solidFill>
                  <a:schemeClr val="accent1"/>
                </a:solidFill>
              </a:rPr>
              <a:t>District priorities</a:t>
            </a:r>
          </a:p>
          <a:p>
            <a:pPr algn="ctr"/>
            <a:r>
              <a:rPr lang="en-US" sz="1400" i="1" dirty="0">
                <a:solidFill>
                  <a:schemeClr val="accent1"/>
                </a:solidFill>
              </a:rPr>
              <a:t>Leadership expectations</a:t>
            </a:r>
          </a:p>
          <a:p>
            <a:pPr algn="ctr"/>
            <a:endParaRPr lang="en-US" sz="1400" i="1" dirty="0">
              <a:solidFill>
                <a:schemeClr val="accent1"/>
              </a:solidFill>
            </a:endParaRPr>
          </a:p>
          <a:p>
            <a:pPr algn="ctr"/>
            <a:r>
              <a:rPr lang="en-US" sz="1400" i="1" dirty="0">
                <a:solidFill>
                  <a:srgbClr val="9AA4C3"/>
                </a:solidFill>
              </a:rPr>
              <a:t>What do they do?</a:t>
            </a:r>
          </a:p>
          <a:p>
            <a:pPr algn="ctr"/>
            <a:r>
              <a:rPr lang="en-US" sz="1400" i="1" dirty="0">
                <a:solidFill>
                  <a:schemeClr val="accent1"/>
                </a:solidFill>
              </a:rPr>
              <a:t>Set targets and timelines</a:t>
            </a:r>
          </a:p>
          <a:p>
            <a:pPr algn="ctr"/>
            <a:r>
              <a:rPr lang="en-US" sz="1400" i="1" dirty="0">
                <a:solidFill>
                  <a:schemeClr val="accent1"/>
                </a:solidFill>
              </a:rPr>
              <a:t>Review and approve development strategy</a:t>
            </a:r>
          </a:p>
        </p:txBody>
      </p:sp>
      <p:sp>
        <p:nvSpPr>
          <p:cNvPr id="30" name="TextBox 29">
            <a:extLst>
              <a:ext uri="{FF2B5EF4-FFF2-40B4-BE49-F238E27FC236}">
                <a16:creationId xmlns:a16="http://schemas.microsoft.com/office/drawing/2014/main" id="{D65BD974-E54A-34D3-1C03-D7B91D00EFFB}"/>
              </a:ext>
            </a:extLst>
          </p:cNvPr>
          <p:cNvSpPr txBox="1"/>
          <p:nvPr/>
        </p:nvSpPr>
        <p:spPr>
          <a:xfrm>
            <a:off x="2701100" y="2895600"/>
            <a:ext cx="2047875" cy="2646878"/>
          </a:xfrm>
          <a:prstGeom prst="rect">
            <a:avLst/>
          </a:prstGeom>
          <a:noFill/>
        </p:spPr>
        <p:txBody>
          <a:bodyPr wrap="square" rtlCol="0">
            <a:spAutoFit/>
          </a:bodyPr>
          <a:lstStyle/>
          <a:p>
            <a:pPr algn="ctr"/>
            <a:r>
              <a:rPr lang="en-US" b="1" dirty="0">
                <a:solidFill>
                  <a:schemeClr val="tx2"/>
                </a:solidFill>
              </a:rPr>
              <a:t>Human Resources</a:t>
            </a:r>
          </a:p>
          <a:p>
            <a:pPr algn="ctr"/>
            <a:endParaRPr lang="en-US" b="1" dirty="0">
              <a:solidFill>
                <a:schemeClr val="tx2"/>
              </a:solidFill>
            </a:endParaRPr>
          </a:p>
          <a:p>
            <a:pPr algn="ctr"/>
            <a:r>
              <a:rPr lang="en-US" sz="1400" i="1" dirty="0">
                <a:solidFill>
                  <a:srgbClr val="9AA4C3"/>
                </a:solidFill>
              </a:rPr>
              <a:t>What data do they hold?</a:t>
            </a:r>
          </a:p>
          <a:p>
            <a:pPr algn="ctr"/>
            <a:r>
              <a:rPr lang="en-US" sz="1400" i="1" dirty="0">
                <a:solidFill>
                  <a:schemeClr val="accent1"/>
                </a:solidFill>
              </a:rPr>
              <a:t>Human capital data</a:t>
            </a:r>
          </a:p>
          <a:p>
            <a:pPr algn="ctr"/>
            <a:endParaRPr lang="en-US" sz="1400" i="1" dirty="0">
              <a:solidFill>
                <a:schemeClr val="accent1"/>
              </a:solidFill>
            </a:endParaRPr>
          </a:p>
          <a:p>
            <a:pPr algn="ctr"/>
            <a:r>
              <a:rPr lang="en-US" sz="1400" i="1" dirty="0">
                <a:solidFill>
                  <a:srgbClr val="9AA4C3"/>
                </a:solidFill>
              </a:rPr>
              <a:t>What do they do?</a:t>
            </a:r>
          </a:p>
          <a:p>
            <a:pPr algn="ctr"/>
            <a:r>
              <a:rPr lang="en-US" sz="1400" i="1" dirty="0">
                <a:solidFill>
                  <a:schemeClr val="accent1"/>
                </a:solidFill>
              </a:rPr>
              <a:t>Process management</a:t>
            </a:r>
          </a:p>
          <a:p>
            <a:pPr algn="ctr"/>
            <a:r>
              <a:rPr lang="en-US" sz="1400" i="1" dirty="0">
                <a:solidFill>
                  <a:schemeClr val="accent1"/>
                </a:solidFill>
              </a:rPr>
              <a:t>Make development strategy recommendations</a:t>
            </a:r>
          </a:p>
          <a:p>
            <a:pPr algn="ctr"/>
            <a:endParaRPr lang="en-US" sz="1400" i="1" dirty="0">
              <a:solidFill>
                <a:schemeClr val="accent1"/>
              </a:solidFill>
            </a:endParaRPr>
          </a:p>
        </p:txBody>
      </p:sp>
      <p:sp>
        <p:nvSpPr>
          <p:cNvPr id="31" name="TextBox 30">
            <a:extLst>
              <a:ext uri="{FF2B5EF4-FFF2-40B4-BE49-F238E27FC236}">
                <a16:creationId xmlns:a16="http://schemas.microsoft.com/office/drawing/2014/main" id="{FF898C24-4981-2E0E-5801-2007C705B866}"/>
              </a:ext>
            </a:extLst>
          </p:cNvPr>
          <p:cNvSpPr txBox="1"/>
          <p:nvPr/>
        </p:nvSpPr>
        <p:spPr>
          <a:xfrm>
            <a:off x="4820793" y="2895599"/>
            <a:ext cx="2191512" cy="3077766"/>
          </a:xfrm>
          <a:prstGeom prst="rect">
            <a:avLst/>
          </a:prstGeom>
          <a:noFill/>
        </p:spPr>
        <p:txBody>
          <a:bodyPr wrap="square" rtlCol="0">
            <a:spAutoFit/>
          </a:bodyPr>
          <a:lstStyle/>
          <a:p>
            <a:pPr algn="ctr"/>
            <a:r>
              <a:rPr lang="en-US" b="1" dirty="0">
                <a:solidFill>
                  <a:schemeClr val="tx2"/>
                </a:solidFill>
              </a:rPr>
              <a:t>Principal Supervisors</a:t>
            </a:r>
          </a:p>
          <a:p>
            <a:pPr algn="ctr"/>
            <a:endParaRPr lang="en-US" b="1" dirty="0">
              <a:solidFill>
                <a:schemeClr val="tx2"/>
              </a:solidFill>
            </a:endParaRPr>
          </a:p>
          <a:p>
            <a:pPr algn="ctr"/>
            <a:r>
              <a:rPr lang="en-US" sz="1400" i="1" dirty="0">
                <a:solidFill>
                  <a:srgbClr val="9AA4C3"/>
                </a:solidFill>
              </a:rPr>
              <a:t>What data do they hold?</a:t>
            </a:r>
          </a:p>
          <a:p>
            <a:pPr algn="ctr"/>
            <a:r>
              <a:rPr lang="en-US" sz="1400" i="1" dirty="0">
                <a:solidFill>
                  <a:schemeClr val="accent1"/>
                </a:solidFill>
              </a:rPr>
              <a:t>Campus needs</a:t>
            </a:r>
          </a:p>
          <a:p>
            <a:pPr algn="ctr"/>
            <a:r>
              <a:rPr lang="en-US" sz="1400" i="1" dirty="0">
                <a:solidFill>
                  <a:schemeClr val="accent1"/>
                </a:solidFill>
              </a:rPr>
              <a:t>Readiness expectations</a:t>
            </a:r>
          </a:p>
          <a:p>
            <a:pPr algn="ctr"/>
            <a:endParaRPr lang="en-US" sz="1400" i="1" dirty="0">
              <a:solidFill>
                <a:schemeClr val="accent1"/>
              </a:solidFill>
            </a:endParaRPr>
          </a:p>
          <a:p>
            <a:pPr algn="ctr"/>
            <a:r>
              <a:rPr lang="en-US" sz="1400" i="1" dirty="0">
                <a:solidFill>
                  <a:srgbClr val="9AA4C3"/>
                </a:solidFill>
              </a:rPr>
              <a:t>What do they do?</a:t>
            </a:r>
          </a:p>
          <a:p>
            <a:pPr algn="ctr"/>
            <a:r>
              <a:rPr lang="en-US" sz="1400" i="1" dirty="0">
                <a:solidFill>
                  <a:schemeClr val="accent1"/>
                </a:solidFill>
              </a:rPr>
              <a:t>Collect data from principals</a:t>
            </a:r>
          </a:p>
          <a:p>
            <a:pPr algn="ctr"/>
            <a:r>
              <a:rPr lang="en-US" sz="1400" i="1" dirty="0">
                <a:solidFill>
                  <a:schemeClr val="accent1"/>
                </a:solidFill>
              </a:rPr>
              <a:t>Review input and assign readiness ratings</a:t>
            </a:r>
          </a:p>
          <a:p>
            <a:pPr algn="ctr"/>
            <a:r>
              <a:rPr lang="en-US" sz="1400" i="1" dirty="0">
                <a:solidFill>
                  <a:schemeClr val="accent1"/>
                </a:solidFill>
              </a:rPr>
              <a:t>Drive development</a:t>
            </a:r>
          </a:p>
          <a:p>
            <a:pPr algn="ctr"/>
            <a:endParaRPr lang="en-US" sz="1400" i="1" dirty="0">
              <a:solidFill>
                <a:schemeClr val="accent1"/>
              </a:solidFill>
            </a:endParaRPr>
          </a:p>
        </p:txBody>
      </p:sp>
      <p:sp>
        <p:nvSpPr>
          <p:cNvPr id="32" name="TextBox 31">
            <a:extLst>
              <a:ext uri="{FF2B5EF4-FFF2-40B4-BE49-F238E27FC236}">
                <a16:creationId xmlns:a16="http://schemas.microsoft.com/office/drawing/2014/main" id="{B4995327-00CB-0F6F-9FB9-E877E5AD27E1}"/>
              </a:ext>
            </a:extLst>
          </p:cNvPr>
          <p:cNvSpPr txBox="1"/>
          <p:nvPr/>
        </p:nvSpPr>
        <p:spPr>
          <a:xfrm>
            <a:off x="7082600" y="2895599"/>
            <a:ext cx="2047875" cy="3139321"/>
          </a:xfrm>
          <a:prstGeom prst="rect">
            <a:avLst/>
          </a:prstGeom>
          <a:noFill/>
        </p:spPr>
        <p:txBody>
          <a:bodyPr wrap="square" rtlCol="0">
            <a:spAutoFit/>
          </a:bodyPr>
          <a:lstStyle/>
          <a:p>
            <a:pPr algn="ctr"/>
            <a:r>
              <a:rPr lang="en-US" b="1" dirty="0">
                <a:solidFill>
                  <a:schemeClr val="tx2"/>
                </a:solidFill>
              </a:rPr>
              <a:t>Principals</a:t>
            </a:r>
          </a:p>
          <a:p>
            <a:pPr algn="ctr"/>
            <a:endParaRPr lang="en-US" b="1" dirty="0">
              <a:solidFill>
                <a:schemeClr val="tx2"/>
              </a:solidFill>
            </a:endParaRPr>
          </a:p>
          <a:p>
            <a:pPr algn="ctr"/>
            <a:endParaRPr lang="en-US" b="1" dirty="0">
              <a:solidFill>
                <a:schemeClr val="tx2"/>
              </a:solidFill>
            </a:endParaRPr>
          </a:p>
          <a:p>
            <a:pPr algn="ctr"/>
            <a:r>
              <a:rPr lang="en-US" sz="1400" i="1" dirty="0">
                <a:solidFill>
                  <a:srgbClr val="9AA4C3"/>
                </a:solidFill>
              </a:rPr>
              <a:t>What data do they hold?</a:t>
            </a:r>
          </a:p>
          <a:p>
            <a:pPr algn="ctr"/>
            <a:r>
              <a:rPr lang="en-US" sz="1400" i="1" dirty="0">
                <a:solidFill>
                  <a:schemeClr val="accent1"/>
                </a:solidFill>
              </a:rPr>
              <a:t>Their own career plans</a:t>
            </a:r>
          </a:p>
          <a:p>
            <a:pPr algn="ctr"/>
            <a:r>
              <a:rPr lang="en-US" sz="1400" i="1" dirty="0">
                <a:solidFill>
                  <a:schemeClr val="accent1"/>
                </a:solidFill>
              </a:rPr>
              <a:t>Performance of their staff</a:t>
            </a:r>
          </a:p>
          <a:p>
            <a:pPr algn="ctr"/>
            <a:endParaRPr lang="en-US" sz="1400" i="1" dirty="0">
              <a:solidFill>
                <a:schemeClr val="accent1"/>
              </a:solidFill>
            </a:endParaRPr>
          </a:p>
          <a:p>
            <a:pPr algn="ctr"/>
            <a:r>
              <a:rPr lang="en-US" sz="1400" i="1" dirty="0">
                <a:solidFill>
                  <a:srgbClr val="9AA4C3"/>
                </a:solidFill>
              </a:rPr>
              <a:t>What do they do?</a:t>
            </a:r>
          </a:p>
          <a:p>
            <a:pPr algn="ctr"/>
            <a:r>
              <a:rPr lang="en-US" sz="1400" i="1" dirty="0">
                <a:solidFill>
                  <a:schemeClr val="accent1"/>
                </a:solidFill>
              </a:rPr>
              <a:t>Conduct career conversations with staff</a:t>
            </a:r>
          </a:p>
          <a:p>
            <a:pPr algn="ctr"/>
            <a:r>
              <a:rPr lang="en-US" sz="1400" i="1" dirty="0">
                <a:solidFill>
                  <a:schemeClr val="accent1"/>
                </a:solidFill>
              </a:rPr>
              <a:t>Readiness assessment</a:t>
            </a:r>
          </a:p>
          <a:p>
            <a:pPr algn="ctr"/>
            <a:r>
              <a:rPr lang="en-US" sz="1400" i="1" dirty="0">
                <a:solidFill>
                  <a:schemeClr val="accent1"/>
                </a:solidFill>
              </a:rPr>
              <a:t>Drive development</a:t>
            </a:r>
          </a:p>
          <a:p>
            <a:pPr algn="ctr"/>
            <a:endParaRPr lang="en-US" b="1" dirty="0">
              <a:solidFill>
                <a:schemeClr val="tx2"/>
              </a:solidFill>
            </a:endParaRPr>
          </a:p>
        </p:txBody>
      </p:sp>
      <p:sp>
        <p:nvSpPr>
          <p:cNvPr id="33" name="TextBox 32">
            <a:extLst>
              <a:ext uri="{FF2B5EF4-FFF2-40B4-BE49-F238E27FC236}">
                <a16:creationId xmlns:a16="http://schemas.microsoft.com/office/drawing/2014/main" id="{8869EACD-6CA7-6257-96A2-21D1340A06E2}"/>
              </a:ext>
            </a:extLst>
          </p:cNvPr>
          <p:cNvSpPr txBox="1"/>
          <p:nvPr/>
        </p:nvSpPr>
        <p:spPr>
          <a:xfrm>
            <a:off x="9272588" y="2895599"/>
            <a:ext cx="2047875" cy="2431435"/>
          </a:xfrm>
          <a:prstGeom prst="rect">
            <a:avLst/>
          </a:prstGeom>
          <a:noFill/>
        </p:spPr>
        <p:txBody>
          <a:bodyPr wrap="square" rtlCol="0">
            <a:spAutoFit/>
          </a:bodyPr>
          <a:lstStyle/>
          <a:p>
            <a:pPr algn="ctr"/>
            <a:r>
              <a:rPr lang="en-US" b="1" dirty="0">
                <a:solidFill>
                  <a:schemeClr val="tx2"/>
                </a:solidFill>
              </a:rPr>
              <a:t>Future campus leaders</a:t>
            </a:r>
          </a:p>
          <a:p>
            <a:pPr algn="ctr"/>
            <a:endParaRPr lang="en-US" b="1" dirty="0">
              <a:solidFill>
                <a:schemeClr val="tx2"/>
              </a:solidFill>
            </a:endParaRPr>
          </a:p>
          <a:p>
            <a:pPr algn="ctr"/>
            <a:r>
              <a:rPr lang="en-US" sz="1400" i="1" dirty="0">
                <a:solidFill>
                  <a:srgbClr val="9AA4C3"/>
                </a:solidFill>
              </a:rPr>
              <a:t>What data do they hold?</a:t>
            </a:r>
          </a:p>
          <a:p>
            <a:pPr algn="ctr"/>
            <a:r>
              <a:rPr lang="en-US" sz="1400" i="1" dirty="0">
                <a:solidFill>
                  <a:schemeClr val="accent1"/>
                </a:solidFill>
              </a:rPr>
              <a:t>Their career goals</a:t>
            </a:r>
          </a:p>
          <a:p>
            <a:pPr algn="ctr"/>
            <a:r>
              <a:rPr lang="en-US" sz="1400" i="1" dirty="0">
                <a:solidFill>
                  <a:schemeClr val="accent1"/>
                </a:solidFill>
              </a:rPr>
              <a:t>Their experiences, strengths, and gaps</a:t>
            </a:r>
          </a:p>
          <a:p>
            <a:pPr algn="ctr"/>
            <a:endParaRPr lang="en-US" sz="1400" i="1" dirty="0">
              <a:solidFill>
                <a:schemeClr val="accent1"/>
              </a:solidFill>
            </a:endParaRPr>
          </a:p>
          <a:p>
            <a:pPr algn="ctr"/>
            <a:r>
              <a:rPr lang="en-US" sz="1400" i="1" dirty="0">
                <a:solidFill>
                  <a:srgbClr val="9AA4C3"/>
                </a:solidFill>
              </a:rPr>
              <a:t>What do they do?</a:t>
            </a:r>
          </a:p>
          <a:p>
            <a:pPr algn="ctr"/>
            <a:r>
              <a:rPr lang="en-US" sz="1400" i="1" dirty="0">
                <a:solidFill>
                  <a:schemeClr val="accent1"/>
                </a:solidFill>
              </a:rPr>
              <a:t>Readiness self-assessment</a:t>
            </a:r>
          </a:p>
        </p:txBody>
      </p:sp>
    </p:spTree>
    <p:extLst>
      <p:ext uri="{BB962C8B-B14F-4D97-AF65-F5344CB8AC3E}">
        <p14:creationId xmlns:p14="http://schemas.microsoft.com/office/powerpoint/2010/main" val="5118488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5A4F97C-8ACF-BDD4-D66D-DB58E4E778AB}"/>
              </a:ext>
            </a:extLst>
          </p:cNvPr>
          <p:cNvGraphicFramePr>
            <a:graphicFrameLocks noChangeAspect="1"/>
          </p:cNvGraphicFramePr>
          <p:nvPr>
            <p:custDataLst>
              <p:tags r:id="rId1"/>
            </p:custDataLst>
            <p:extLst>
              <p:ext uri="{D42A27DB-BD31-4B8C-83A1-F6EECF244321}">
                <p14:modId xmlns:p14="http://schemas.microsoft.com/office/powerpoint/2010/main" val="3251089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D5A4F97C-8ACF-BDD4-D66D-DB58E4E77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D098C75E-0838-39CD-F7C7-9B2F0E6B1580}"/>
              </a:ext>
            </a:extLst>
          </p:cNvPr>
          <p:cNvSpPr/>
          <p:nvPr/>
        </p:nvSpPr>
        <p:spPr>
          <a:xfrm>
            <a:off x="657225" y="4521856"/>
            <a:ext cx="10823571" cy="1669993"/>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DF8CDF8A-6FB8-5FFC-A8FE-5737F927024A}"/>
              </a:ext>
            </a:extLst>
          </p:cNvPr>
          <p:cNvSpPr>
            <a:spLocks noGrp="1"/>
          </p:cNvSpPr>
          <p:nvPr>
            <p:ph type="title"/>
          </p:nvPr>
        </p:nvSpPr>
        <p:spPr/>
        <p:txBody>
          <a:bodyPr vert="horz"/>
          <a:lstStyle/>
          <a:p>
            <a:r>
              <a:rPr lang="en-US" dirty="0"/>
              <a:t>While there are many ways to evaluate bench strength, the Vacancy Planning Cycle centers around a single ratio</a:t>
            </a:r>
          </a:p>
        </p:txBody>
      </p:sp>
      <p:pic>
        <p:nvPicPr>
          <p:cNvPr id="15" name="Graphic 14" descr="Woman">
            <a:extLst>
              <a:ext uri="{FF2B5EF4-FFF2-40B4-BE49-F238E27FC236}">
                <a16:creationId xmlns:a16="http://schemas.microsoft.com/office/drawing/2014/main" id="{89D9DDC1-3E7C-8019-AE67-364CBA1095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4813" y="2998857"/>
            <a:ext cx="1305533" cy="1305533"/>
          </a:xfrm>
          <a:prstGeom prst="rect">
            <a:avLst/>
          </a:prstGeom>
        </p:spPr>
      </p:pic>
      <p:cxnSp>
        <p:nvCxnSpPr>
          <p:cNvPr id="16" name="Straight Connector 15">
            <a:extLst>
              <a:ext uri="{FF2B5EF4-FFF2-40B4-BE49-F238E27FC236}">
                <a16:creationId xmlns:a16="http://schemas.microsoft.com/office/drawing/2014/main" id="{0440D01E-C593-54C6-B80F-0F66779D5B79}"/>
              </a:ext>
            </a:extLst>
          </p:cNvPr>
          <p:cNvCxnSpPr>
            <a:cxnSpLocks/>
          </p:cNvCxnSpPr>
          <p:nvPr/>
        </p:nvCxnSpPr>
        <p:spPr>
          <a:xfrm>
            <a:off x="4589277" y="2781390"/>
            <a:ext cx="1385257"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9" name="Graphic 18" descr="Woman">
            <a:extLst>
              <a:ext uri="{FF2B5EF4-FFF2-40B4-BE49-F238E27FC236}">
                <a16:creationId xmlns:a16="http://schemas.microsoft.com/office/drawing/2014/main" id="{B4E5655A-1AC5-884B-5E99-36701A820B2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77758" y="3015029"/>
            <a:ext cx="1305533" cy="1305533"/>
          </a:xfrm>
          <a:prstGeom prst="rect">
            <a:avLst/>
          </a:prstGeom>
        </p:spPr>
      </p:pic>
      <p:cxnSp>
        <p:nvCxnSpPr>
          <p:cNvPr id="20" name="Straight Connector 19">
            <a:extLst>
              <a:ext uri="{FF2B5EF4-FFF2-40B4-BE49-F238E27FC236}">
                <a16:creationId xmlns:a16="http://schemas.microsoft.com/office/drawing/2014/main" id="{3CB59965-09C0-B510-B34C-FDA09462C742}"/>
              </a:ext>
            </a:extLst>
          </p:cNvPr>
          <p:cNvCxnSpPr>
            <a:cxnSpLocks/>
          </p:cNvCxnSpPr>
          <p:nvPr/>
        </p:nvCxnSpPr>
        <p:spPr>
          <a:xfrm>
            <a:off x="6737897" y="2781390"/>
            <a:ext cx="1385257"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1" name="Graphic 20" descr="Woman">
            <a:extLst>
              <a:ext uri="{FF2B5EF4-FFF2-40B4-BE49-F238E27FC236}">
                <a16:creationId xmlns:a16="http://schemas.microsoft.com/office/drawing/2014/main" id="{3A007400-AE43-A004-51F4-27D9580C2D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96998" y="1359038"/>
            <a:ext cx="1305533" cy="1305533"/>
          </a:xfrm>
          <a:prstGeom prst="rect">
            <a:avLst/>
          </a:prstGeom>
        </p:spPr>
      </p:pic>
      <p:pic>
        <p:nvPicPr>
          <p:cNvPr id="22" name="Graphic 21" descr="Woman">
            <a:extLst>
              <a:ext uri="{FF2B5EF4-FFF2-40B4-BE49-F238E27FC236}">
                <a16:creationId xmlns:a16="http://schemas.microsoft.com/office/drawing/2014/main" id="{19F5239C-D176-11D2-1C7A-5EF4822E99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01166" y="3015029"/>
            <a:ext cx="1305533" cy="1305533"/>
          </a:xfrm>
          <a:prstGeom prst="rect">
            <a:avLst/>
          </a:prstGeom>
        </p:spPr>
      </p:pic>
      <p:cxnSp>
        <p:nvCxnSpPr>
          <p:cNvPr id="23" name="Straight Connector 22">
            <a:extLst>
              <a:ext uri="{FF2B5EF4-FFF2-40B4-BE49-F238E27FC236}">
                <a16:creationId xmlns:a16="http://schemas.microsoft.com/office/drawing/2014/main" id="{0D638A36-98DF-5CBC-01FE-12FBEB1A00F6}"/>
              </a:ext>
            </a:extLst>
          </p:cNvPr>
          <p:cNvCxnSpPr>
            <a:cxnSpLocks/>
          </p:cNvCxnSpPr>
          <p:nvPr/>
        </p:nvCxnSpPr>
        <p:spPr>
          <a:xfrm>
            <a:off x="8898964" y="2781390"/>
            <a:ext cx="1644807"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24" name="Graphic 23" descr="Woman">
            <a:extLst>
              <a:ext uri="{FF2B5EF4-FFF2-40B4-BE49-F238E27FC236}">
                <a16:creationId xmlns:a16="http://schemas.microsoft.com/office/drawing/2014/main" id="{28A875A5-54D1-5847-5966-BFA8427219D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90317" y="1359038"/>
            <a:ext cx="1305533" cy="1305533"/>
          </a:xfrm>
          <a:prstGeom prst="rect">
            <a:avLst/>
          </a:prstGeom>
        </p:spPr>
      </p:pic>
      <p:pic>
        <p:nvPicPr>
          <p:cNvPr id="25" name="Graphic 24" descr="Woman">
            <a:extLst>
              <a:ext uri="{FF2B5EF4-FFF2-40B4-BE49-F238E27FC236}">
                <a16:creationId xmlns:a16="http://schemas.microsoft.com/office/drawing/2014/main" id="{65A27E01-92EB-9B8B-4192-0E656446335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440440" y="1359040"/>
            <a:ext cx="1305533" cy="1305533"/>
          </a:xfrm>
          <a:prstGeom prst="rect">
            <a:avLst/>
          </a:prstGeom>
        </p:spPr>
      </p:pic>
      <p:sp>
        <p:nvSpPr>
          <p:cNvPr id="28" name="TextBox 27">
            <a:extLst>
              <a:ext uri="{FF2B5EF4-FFF2-40B4-BE49-F238E27FC236}">
                <a16:creationId xmlns:a16="http://schemas.microsoft.com/office/drawing/2014/main" id="{2C51CCF7-316A-5085-981E-1122BBB52F87}"/>
              </a:ext>
            </a:extLst>
          </p:cNvPr>
          <p:cNvSpPr txBox="1"/>
          <p:nvPr/>
        </p:nvSpPr>
        <p:spPr>
          <a:xfrm>
            <a:off x="871810" y="1490135"/>
            <a:ext cx="3126445" cy="1015663"/>
          </a:xfrm>
          <a:prstGeom prst="rect">
            <a:avLst/>
          </a:prstGeom>
          <a:noFill/>
        </p:spPr>
        <p:txBody>
          <a:bodyPr wrap="square" rtlCol="0">
            <a:spAutoFit/>
          </a:bodyPr>
          <a:lstStyle/>
          <a:p>
            <a:pPr algn="ctr"/>
            <a:r>
              <a:rPr lang="en-US" sz="2000" dirty="0">
                <a:solidFill>
                  <a:schemeClr val="tx2"/>
                </a:solidFill>
              </a:rPr>
              <a:t>How many leaders do you have who are “ready” to take on the role?</a:t>
            </a:r>
          </a:p>
        </p:txBody>
      </p:sp>
      <p:sp>
        <p:nvSpPr>
          <p:cNvPr id="29" name="TextBox 28">
            <a:extLst>
              <a:ext uri="{FF2B5EF4-FFF2-40B4-BE49-F238E27FC236}">
                <a16:creationId xmlns:a16="http://schemas.microsoft.com/office/drawing/2014/main" id="{46F3A37B-22AD-7BE1-DDC2-926AD804864E}"/>
              </a:ext>
            </a:extLst>
          </p:cNvPr>
          <p:cNvSpPr txBox="1"/>
          <p:nvPr/>
        </p:nvSpPr>
        <p:spPr>
          <a:xfrm>
            <a:off x="1224543" y="3181350"/>
            <a:ext cx="2420975" cy="707886"/>
          </a:xfrm>
          <a:prstGeom prst="rect">
            <a:avLst/>
          </a:prstGeom>
          <a:noFill/>
        </p:spPr>
        <p:txBody>
          <a:bodyPr wrap="square" rtlCol="0">
            <a:spAutoFit/>
          </a:bodyPr>
          <a:lstStyle/>
          <a:p>
            <a:pPr algn="ctr"/>
            <a:r>
              <a:rPr lang="en-US" sz="2000" dirty="0">
                <a:solidFill>
                  <a:schemeClr val="tx2"/>
                </a:solidFill>
              </a:rPr>
              <a:t>How many vacancies do you have?</a:t>
            </a:r>
          </a:p>
        </p:txBody>
      </p:sp>
      <p:cxnSp>
        <p:nvCxnSpPr>
          <p:cNvPr id="30" name="Straight Connector 29">
            <a:extLst>
              <a:ext uri="{FF2B5EF4-FFF2-40B4-BE49-F238E27FC236}">
                <a16:creationId xmlns:a16="http://schemas.microsoft.com/office/drawing/2014/main" id="{2EE76D0C-DA3A-00F3-DCFA-CEC2A5BAF864}"/>
              </a:ext>
            </a:extLst>
          </p:cNvPr>
          <p:cNvCxnSpPr>
            <a:cxnSpLocks/>
          </p:cNvCxnSpPr>
          <p:nvPr/>
        </p:nvCxnSpPr>
        <p:spPr>
          <a:xfrm>
            <a:off x="871810" y="2781390"/>
            <a:ext cx="31264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DCF27AD-BB5C-46D3-9031-2AA1D8ADDA5E}"/>
              </a:ext>
            </a:extLst>
          </p:cNvPr>
          <p:cNvSpPr txBox="1"/>
          <p:nvPr/>
        </p:nvSpPr>
        <p:spPr>
          <a:xfrm>
            <a:off x="1127859" y="4849020"/>
            <a:ext cx="2614342" cy="1015663"/>
          </a:xfrm>
          <a:prstGeom prst="rect">
            <a:avLst/>
          </a:prstGeom>
          <a:noFill/>
        </p:spPr>
        <p:txBody>
          <a:bodyPr wrap="square" rtlCol="0">
            <a:spAutoFit/>
          </a:bodyPr>
          <a:lstStyle/>
          <a:p>
            <a:pPr algn="ctr"/>
            <a:r>
              <a:rPr lang="en-US" sz="2000" b="1" i="1" dirty="0">
                <a:solidFill>
                  <a:schemeClr val="tx2"/>
                </a:solidFill>
              </a:rPr>
              <a:t>We call this the “Ratio of Ready Leaders”</a:t>
            </a:r>
          </a:p>
        </p:txBody>
      </p:sp>
      <p:sp>
        <p:nvSpPr>
          <p:cNvPr id="34" name="Oval 33">
            <a:extLst>
              <a:ext uri="{FF2B5EF4-FFF2-40B4-BE49-F238E27FC236}">
                <a16:creationId xmlns:a16="http://schemas.microsoft.com/office/drawing/2014/main" id="{063075A0-ED13-A3E9-2C08-26240C9C6C15}"/>
              </a:ext>
            </a:extLst>
          </p:cNvPr>
          <p:cNvSpPr/>
          <p:nvPr/>
        </p:nvSpPr>
        <p:spPr>
          <a:xfrm>
            <a:off x="4858393" y="4594180"/>
            <a:ext cx="984685" cy="564254"/>
          </a:xfrm>
          <a:prstGeom prst="ellipse">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t>1:2</a:t>
            </a:r>
          </a:p>
        </p:txBody>
      </p:sp>
      <p:pic>
        <p:nvPicPr>
          <p:cNvPr id="35" name="Graphic 34" descr="Woman">
            <a:extLst>
              <a:ext uri="{FF2B5EF4-FFF2-40B4-BE49-F238E27FC236}">
                <a16:creationId xmlns:a16="http://schemas.microsoft.com/office/drawing/2014/main" id="{C683C3E1-2B6E-6EDC-1504-92EE06F35F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67579" y="2998857"/>
            <a:ext cx="1305533" cy="1305533"/>
          </a:xfrm>
          <a:prstGeom prst="rect">
            <a:avLst/>
          </a:prstGeom>
        </p:spPr>
      </p:pic>
      <p:pic>
        <p:nvPicPr>
          <p:cNvPr id="36" name="Graphic 35" descr="Woman">
            <a:extLst>
              <a:ext uri="{FF2B5EF4-FFF2-40B4-BE49-F238E27FC236}">
                <a16:creationId xmlns:a16="http://schemas.microsoft.com/office/drawing/2014/main" id="{74FCA133-7469-801F-0B5B-B2A1EDDE8A1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648378" y="1431505"/>
            <a:ext cx="1305533" cy="1305533"/>
          </a:xfrm>
          <a:prstGeom prst="rect">
            <a:avLst/>
          </a:prstGeom>
        </p:spPr>
      </p:pic>
      <p:sp>
        <p:nvSpPr>
          <p:cNvPr id="37" name="Oval 36">
            <a:extLst>
              <a:ext uri="{FF2B5EF4-FFF2-40B4-BE49-F238E27FC236}">
                <a16:creationId xmlns:a16="http://schemas.microsoft.com/office/drawing/2014/main" id="{BD0D79C6-A9C7-2997-0EB1-65BE105BBBE7}"/>
              </a:ext>
            </a:extLst>
          </p:cNvPr>
          <p:cNvSpPr/>
          <p:nvPr/>
        </p:nvSpPr>
        <p:spPr>
          <a:xfrm>
            <a:off x="6959269" y="4594180"/>
            <a:ext cx="984685" cy="564254"/>
          </a:xfrm>
          <a:prstGeom prst="ellipse">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dirty="0"/>
              <a:t>1:1</a:t>
            </a:r>
          </a:p>
        </p:txBody>
      </p:sp>
      <p:sp>
        <p:nvSpPr>
          <p:cNvPr id="38" name="Oval 37">
            <a:extLst>
              <a:ext uri="{FF2B5EF4-FFF2-40B4-BE49-F238E27FC236}">
                <a16:creationId xmlns:a16="http://schemas.microsoft.com/office/drawing/2014/main" id="{0F9EA736-B970-9063-8BD7-EC48239EC53C}"/>
              </a:ext>
            </a:extLst>
          </p:cNvPr>
          <p:cNvSpPr/>
          <p:nvPr/>
        </p:nvSpPr>
        <p:spPr>
          <a:xfrm>
            <a:off x="9283413" y="4594180"/>
            <a:ext cx="984685" cy="564254"/>
          </a:xfrm>
          <a:prstGeom prst="ellipse">
            <a:avLst/>
          </a:prstGeom>
          <a:solidFill>
            <a:schemeClr val="accent3"/>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2800" dirty="0"/>
              <a:t>~2:1</a:t>
            </a:r>
          </a:p>
        </p:txBody>
      </p:sp>
      <p:sp>
        <p:nvSpPr>
          <p:cNvPr id="39" name="TextBox 38">
            <a:extLst>
              <a:ext uri="{FF2B5EF4-FFF2-40B4-BE49-F238E27FC236}">
                <a16:creationId xmlns:a16="http://schemas.microsoft.com/office/drawing/2014/main" id="{8D74C0C7-287F-5906-E15E-5A95F9C8BDA6}"/>
              </a:ext>
            </a:extLst>
          </p:cNvPr>
          <p:cNvSpPr txBox="1"/>
          <p:nvPr/>
        </p:nvSpPr>
        <p:spPr>
          <a:xfrm>
            <a:off x="4253192" y="5192960"/>
            <a:ext cx="2095904" cy="815608"/>
          </a:xfrm>
          <a:prstGeom prst="rect">
            <a:avLst/>
          </a:prstGeom>
          <a:noFill/>
        </p:spPr>
        <p:txBody>
          <a:bodyPr wrap="square" rtlCol="0">
            <a:spAutoFit/>
          </a:bodyPr>
          <a:lstStyle/>
          <a:p>
            <a:pPr algn="ctr"/>
            <a:r>
              <a:rPr lang="en-US" sz="1400" i="1" dirty="0">
                <a:solidFill>
                  <a:schemeClr val="accent6"/>
                </a:solidFill>
              </a:rPr>
              <a:t>INSUFFICIENT</a:t>
            </a:r>
          </a:p>
          <a:p>
            <a:pPr algn="ctr"/>
            <a:r>
              <a:rPr lang="en-US" sz="1100" i="1" dirty="0">
                <a:solidFill>
                  <a:schemeClr val="accent6"/>
                </a:solidFill>
              </a:rPr>
              <a:t>Districts are forced to either hire externally or place leaders who are not equipped to succeed in the role</a:t>
            </a:r>
          </a:p>
        </p:txBody>
      </p:sp>
      <p:sp>
        <p:nvSpPr>
          <p:cNvPr id="40" name="TextBox 39">
            <a:extLst>
              <a:ext uri="{FF2B5EF4-FFF2-40B4-BE49-F238E27FC236}">
                <a16:creationId xmlns:a16="http://schemas.microsoft.com/office/drawing/2014/main" id="{F31795B8-C3CD-6E98-6854-7A489527EA2C}"/>
              </a:ext>
            </a:extLst>
          </p:cNvPr>
          <p:cNvSpPr txBox="1"/>
          <p:nvPr/>
        </p:nvSpPr>
        <p:spPr>
          <a:xfrm>
            <a:off x="6320861" y="5192960"/>
            <a:ext cx="2219325" cy="984885"/>
          </a:xfrm>
          <a:prstGeom prst="rect">
            <a:avLst/>
          </a:prstGeom>
          <a:noFill/>
        </p:spPr>
        <p:txBody>
          <a:bodyPr wrap="square" rtlCol="0">
            <a:spAutoFit/>
          </a:bodyPr>
          <a:lstStyle/>
          <a:p>
            <a:pPr algn="ctr"/>
            <a:r>
              <a:rPr lang="en-US" sz="1400" i="1" dirty="0">
                <a:solidFill>
                  <a:schemeClr val="accent4">
                    <a:lumMod val="75000"/>
                  </a:schemeClr>
                </a:solidFill>
              </a:rPr>
              <a:t>MINIMUM</a:t>
            </a:r>
          </a:p>
          <a:p>
            <a:pPr algn="ctr"/>
            <a:r>
              <a:rPr lang="en-US" sz="1100" i="1" dirty="0">
                <a:solidFill>
                  <a:schemeClr val="accent4">
                    <a:lumMod val="75000"/>
                  </a:schemeClr>
                </a:solidFill>
              </a:rPr>
              <a:t>Districts can fill roles with internal candidates but may have little choice when ensuring a candidate is the right fit for a specific campus</a:t>
            </a:r>
          </a:p>
        </p:txBody>
      </p:sp>
      <p:sp>
        <p:nvSpPr>
          <p:cNvPr id="41" name="TextBox 40">
            <a:extLst>
              <a:ext uri="{FF2B5EF4-FFF2-40B4-BE49-F238E27FC236}">
                <a16:creationId xmlns:a16="http://schemas.microsoft.com/office/drawing/2014/main" id="{B686AA41-B380-95BD-348E-D6D1BF6364EC}"/>
              </a:ext>
            </a:extLst>
          </p:cNvPr>
          <p:cNvSpPr txBox="1"/>
          <p:nvPr/>
        </p:nvSpPr>
        <p:spPr>
          <a:xfrm>
            <a:off x="8709904" y="5192960"/>
            <a:ext cx="2219325" cy="984885"/>
          </a:xfrm>
          <a:prstGeom prst="rect">
            <a:avLst/>
          </a:prstGeom>
          <a:noFill/>
        </p:spPr>
        <p:txBody>
          <a:bodyPr wrap="square" rtlCol="0">
            <a:spAutoFit/>
          </a:bodyPr>
          <a:lstStyle/>
          <a:p>
            <a:pPr algn="ctr"/>
            <a:r>
              <a:rPr lang="en-US" sz="1400" i="1" dirty="0">
                <a:solidFill>
                  <a:schemeClr val="accent3"/>
                </a:solidFill>
              </a:rPr>
              <a:t>~GOAL</a:t>
            </a:r>
          </a:p>
          <a:p>
            <a:pPr algn="ctr"/>
            <a:r>
              <a:rPr lang="en-US" sz="1100" i="1" dirty="0">
                <a:solidFill>
                  <a:schemeClr val="accent3"/>
                </a:solidFill>
              </a:rPr>
              <a:t>Districts should set a target above 1:1 so they have choice and can effectively place leaders in best-fit roles</a:t>
            </a:r>
          </a:p>
        </p:txBody>
      </p:sp>
    </p:spTree>
    <p:extLst>
      <p:ext uri="{BB962C8B-B14F-4D97-AF65-F5344CB8AC3E}">
        <p14:creationId xmlns:p14="http://schemas.microsoft.com/office/powerpoint/2010/main" val="3603394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28AA937-B992-5121-9D82-58F8013F1A58}"/>
              </a:ext>
            </a:extLst>
          </p:cNvPr>
          <p:cNvGraphicFramePr>
            <a:graphicFrameLocks noChangeAspect="1"/>
          </p:cNvGraphicFramePr>
          <p:nvPr>
            <p:custDataLst>
              <p:tags r:id="rId1"/>
            </p:custDataLst>
            <p:extLst>
              <p:ext uri="{D42A27DB-BD31-4B8C-83A1-F6EECF244321}">
                <p14:modId xmlns:p14="http://schemas.microsoft.com/office/powerpoint/2010/main" val="1046534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5" name="think-cell data - do not delete" hidden="1">
                        <a:extLst>
                          <a:ext uri="{FF2B5EF4-FFF2-40B4-BE49-F238E27FC236}">
                            <a16:creationId xmlns:a16="http://schemas.microsoft.com/office/drawing/2014/main" id="{E28AA937-B992-5121-9D82-58F8013F1A5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3" name="Arrow: Notched Right 32">
            <a:extLst>
              <a:ext uri="{FF2B5EF4-FFF2-40B4-BE49-F238E27FC236}">
                <a16:creationId xmlns:a16="http://schemas.microsoft.com/office/drawing/2014/main" id="{948FF131-82BC-E79D-BCD8-BA7AEE35301C}"/>
              </a:ext>
            </a:extLst>
          </p:cNvPr>
          <p:cNvSpPr/>
          <p:nvPr/>
        </p:nvSpPr>
        <p:spPr>
          <a:xfrm>
            <a:off x="3506398" y="1302238"/>
            <a:ext cx="6093073" cy="1920240"/>
          </a:xfrm>
          <a:prstGeom prst="notchedRightArrow">
            <a:avLst>
              <a:gd name="adj1" fmla="val 6041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r>
              <a:rPr lang="en-US" sz="2000" b="1" dirty="0"/>
              <a:t>HIRING</a:t>
            </a:r>
          </a:p>
        </p:txBody>
      </p:sp>
      <p:sp>
        <p:nvSpPr>
          <p:cNvPr id="3" name="Title 2">
            <a:extLst>
              <a:ext uri="{FF2B5EF4-FFF2-40B4-BE49-F238E27FC236}">
                <a16:creationId xmlns:a16="http://schemas.microsoft.com/office/drawing/2014/main" id="{D36AFC55-55D4-DD03-CF52-E202573D5F13}"/>
              </a:ext>
            </a:extLst>
          </p:cNvPr>
          <p:cNvSpPr>
            <a:spLocks noGrp="1"/>
          </p:cNvSpPr>
          <p:nvPr>
            <p:ph type="title"/>
          </p:nvPr>
        </p:nvSpPr>
        <p:spPr/>
        <p:txBody>
          <a:bodyPr vert="horz"/>
          <a:lstStyle/>
          <a:p>
            <a:r>
              <a:rPr lang="en-US" dirty="0"/>
              <a:t>It is important that the Vacancy Planning Cycle remain independent of the hiring function</a:t>
            </a:r>
          </a:p>
        </p:txBody>
      </p:sp>
      <p:grpSp>
        <p:nvGrpSpPr>
          <p:cNvPr id="26" name="Group 25">
            <a:extLst>
              <a:ext uri="{FF2B5EF4-FFF2-40B4-BE49-F238E27FC236}">
                <a16:creationId xmlns:a16="http://schemas.microsoft.com/office/drawing/2014/main" id="{CB4F6B1F-5C5A-234F-B226-67B04CC67539}"/>
              </a:ext>
            </a:extLst>
          </p:cNvPr>
          <p:cNvGrpSpPr/>
          <p:nvPr/>
        </p:nvGrpSpPr>
        <p:grpSpPr>
          <a:xfrm>
            <a:off x="537236" y="823647"/>
            <a:ext cx="4882489" cy="4786578"/>
            <a:chOff x="541641" y="571912"/>
            <a:chExt cx="5698201" cy="5586266"/>
          </a:xfrm>
        </p:grpSpPr>
        <p:sp>
          <p:nvSpPr>
            <p:cNvPr id="17" name="Freeform 3">
              <a:extLst>
                <a:ext uri="{FF2B5EF4-FFF2-40B4-BE49-F238E27FC236}">
                  <a16:creationId xmlns:a16="http://schemas.microsoft.com/office/drawing/2014/main" id="{7C08F1B8-9D48-A6ED-2836-1C38126151B6}"/>
                </a:ext>
              </a:extLst>
            </p:cNvPr>
            <p:cNvSpPr>
              <a:spLocks/>
            </p:cNvSpPr>
            <p:nvPr>
              <p:custDataLst>
                <p:tags r:id="rId2"/>
              </p:custDataLst>
            </p:nvPr>
          </p:nvSpPr>
          <p:spPr bwMode="auto">
            <a:xfrm rot="2315660">
              <a:off x="1295060" y="571912"/>
              <a:ext cx="2062496" cy="4156911"/>
            </a:xfrm>
            <a:custGeom>
              <a:avLst/>
              <a:gdLst>
                <a:gd name="T0" fmla="*/ 390 w 534"/>
                <a:gd name="T1" fmla="*/ 860 h 1099"/>
                <a:gd name="T2" fmla="*/ 375 w 534"/>
                <a:gd name="T3" fmla="*/ 840 h 1099"/>
                <a:gd name="T4" fmla="*/ 361 w 534"/>
                <a:gd name="T5" fmla="*/ 819 h 1099"/>
                <a:gd name="T6" fmla="*/ 349 w 534"/>
                <a:gd name="T7" fmla="*/ 797 h 1099"/>
                <a:gd name="T8" fmla="*/ 340 w 534"/>
                <a:gd name="T9" fmla="*/ 774 h 1099"/>
                <a:gd name="T10" fmla="*/ 332 w 534"/>
                <a:gd name="T11" fmla="*/ 751 h 1099"/>
                <a:gd name="T12" fmla="*/ 326 w 534"/>
                <a:gd name="T13" fmla="*/ 727 h 1099"/>
                <a:gd name="T14" fmla="*/ 321 w 534"/>
                <a:gd name="T15" fmla="*/ 702 h 1099"/>
                <a:gd name="T16" fmla="*/ 319 w 534"/>
                <a:gd name="T17" fmla="*/ 678 h 1099"/>
                <a:gd name="T18" fmla="*/ 319 w 534"/>
                <a:gd name="T19" fmla="*/ 653 h 1099"/>
                <a:gd name="T20" fmla="*/ 320 w 534"/>
                <a:gd name="T21" fmla="*/ 628 h 1099"/>
                <a:gd name="T22" fmla="*/ 324 w 534"/>
                <a:gd name="T23" fmla="*/ 603 h 1099"/>
                <a:gd name="T24" fmla="*/ 330 w 534"/>
                <a:gd name="T25" fmla="*/ 579 h 1099"/>
                <a:gd name="T26" fmla="*/ 337 w 534"/>
                <a:gd name="T27" fmla="*/ 554 h 1099"/>
                <a:gd name="T28" fmla="*/ 347 w 534"/>
                <a:gd name="T29" fmla="*/ 530 h 1099"/>
                <a:gd name="T30" fmla="*/ 359 w 534"/>
                <a:gd name="T31" fmla="*/ 507 h 1099"/>
                <a:gd name="T32" fmla="*/ 371 w 534"/>
                <a:gd name="T33" fmla="*/ 488 h 1099"/>
                <a:gd name="T34" fmla="*/ 383 w 534"/>
                <a:gd name="T35" fmla="*/ 472 h 1099"/>
                <a:gd name="T36" fmla="*/ 395 w 534"/>
                <a:gd name="T37" fmla="*/ 457 h 1099"/>
                <a:gd name="T38" fmla="*/ 408 w 534"/>
                <a:gd name="T39" fmla="*/ 443 h 1099"/>
                <a:gd name="T40" fmla="*/ 421 w 534"/>
                <a:gd name="T41" fmla="*/ 430 h 1099"/>
                <a:gd name="T42" fmla="*/ 435 w 534"/>
                <a:gd name="T43" fmla="*/ 418 h 1099"/>
                <a:gd name="T44" fmla="*/ 450 w 534"/>
                <a:gd name="T45" fmla="*/ 406 h 1099"/>
                <a:gd name="T46" fmla="*/ 465 w 534"/>
                <a:gd name="T47" fmla="*/ 396 h 1099"/>
                <a:gd name="T48" fmla="*/ 504 w 534"/>
                <a:gd name="T49" fmla="*/ 454 h 1099"/>
                <a:gd name="T50" fmla="*/ 329 w 534"/>
                <a:gd name="T51" fmla="*/ 0 h 1099"/>
                <a:gd name="T52" fmla="*/ 344 w 534"/>
                <a:gd name="T53" fmla="*/ 89 h 1099"/>
                <a:gd name="T54" fmla="*/ 305 w 534"/>
                <a:gd name="T55" fmla="*/ 111 h 1099"/>
                <a:gd name="T56" fmla="*/ 267 w 534"/>
                <a:gd name="T57" fmla="*/ 136 h 1099"/>
                <a:gd name="T58" fmla="*/ 231 w 534"/>
                <a:gd name="T59" fmla="*/ 164 h 1099"/>
                <a:gd name="T60" fmla="*/ 197 w 534"/>
                <a:gd name="T61" fmla="*/ 196 h 1099"/>
                <a:gd name="T62" fmla="*/ 165 w 534"/>
                <a:gd name="T63" fmla="*/ 229 h 1099"/>
                <a:gd name="T64" fmla="*/ 134 w 534"/>
                <a:gd name="T65" fmla="*/ 265 h 1099"/>
                <a:gd name="T66" fmla="*/ 107 w 534"/>
                <a:gd name="T67" fmla="*/ 303 h 1099"/>
                <a:gd name="T68" fmla="*/ 80 w 534"/>
                <a:gd name="T69" fmla="*/ 347 h 1099"/>
                <a:gd name="T70" fmla="*/ 55 w 534"/>
                <a:gd name="T71" fmla="*/ 395 h 1099"/>
                <a:gd name="T72" fmla="*/ 35 w 534"/>
                <a:gd name="T73" fmla="*/ 445 h 1099"/>
                <a:gd name="T74" fmla="*/ 20 w 534"/>
                <a:gd name="T75" fmla="*/ 496 h 1099"/>
                <a:gd name="T76" fmla="*/ 9 w 534"/>
                <a:gd name="T77" fmla="*/ 547 h 1099"/>
                <a:gd name="T78" fmla="*/ 2 w 534"/>
                <a:gd name="T79" fmla="*/ 599 h 1099"/>
                <a:gd name="T80" fmla="*/ 0 w 534"/>
                <a:gd name="T81" fmla="*/ 651 h 1099"/>
                <a:gd name="T82" fmla="*/ 2 w 534"/>
                <a:gd name="T83" fmla="*/ 702 h 1099"/>
                <a:gd name="T84" fmla="*/ 9 w 534"/>
                <a:gd name="T85" fmla="*/ 754 h 1099"/>
                <a:gd name="T86" fmla="*/ 19 w 534"/>
                <a:gd name="T87" fmla="*/ 804 h 1099"/>
                <a:gd name="T88" fmla="*/ 34 w 534"/>
                <a:gd name="T89" fmla="*/ 854 h 1099"/>
                <a:gd name="T90" fmla="*/ 52 w 534"/>
                <a:gd name="T91" fmla="*/ 903 h 1099"/>
                <a:gd name="T92" fmla="*/ 75 w 534"/>
                <a:gd name="T93" fmla="*/ 950 h 1099"/>
                <a:gd name="T94" fmla="*/ 102 w 534"/>
                <a:gd name="T95" fmla="*/ 995 h 1099"/>
                <a:gd name="T96" fmla="*/ 132 w 534"/>
                <a:gd name="T97" fmla="*/ 1039 h 1099"/>
                <a:gd name="T98" fmla="*/ 166 w 534"/>
                <a:gd name="T99" fmla="*/ 1080 h 1099"/>
                <a:gd name="T100" fmla="*/ 230 w 534"/>
                <a:gd name="T101" fmla="*/ 935 h 1099"/>
                <a:gd name="T102" fmla="*/ 398 w 534"/>
                <a:gd name="T103" fmla="*/ 870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4" h="1099">
                  <a:moveTo>
                    <a:pt x="398" y="870"/>
                  </a:moveTo>
                  <a:lnTo>
                    <a:pt x="390" y="860"/>
                  </a:lnTo>
                  <a:lnTo>
                    <a:pt x="382" y="850"/>
                  </a:lnTo>
                  <a:lnTo>
                    <a:pt x="375" y="840"/>
                  </a:lnTo>
                  <a:lnTo>
                    <a:pt x="368" y="830"/>
                  </a:lnTo>
                  <a:lnTo>
                    <a:pt x="361" y="819"/>
                  </a:lnTo>
                  <a:lnTo>
                    <a:pt x="355" y="808"/>
                  </a:lnTo>
                  <a:lnTo>
                    <a:pt x="349" y="797"/>
                  </a:lnTo>
                  <a:lnTo>
                    <a:pt x="344" y="786"/>
                  </a:lnTo>
                  <a:lnTo>
                    <a:pt x="340" y="774"/>
                  </a:lnTo>
                  <a:lnTo>
                    <a:pt x="335" y="763"/>
                  </a:lnTo>
                  <a:lnTo>
                    <a:pt x="332" y="751"/>
                  </a:lnTo>
                  <a:lnTo>
                    <a:pt x="328" y="739"/>
                  </a:lnTo>
                  <a:lnTo>
                    <a:pt x="326" y="727"/>
                  </a:lnTo>
                  <a:lnTo>
                    <a:pt x="323" y="715"/>
                  </a:lnTo>
                  <a:lnTo>
                    <a:pt x="321" y="702"/>
                  </a:lnTo>
                  <a:lnTo>
                    <a:pt x="320" y="690"/>
                  </a:lnTo>
                  <a:lnTo>
                    <a:pt x="319" y="678"/>
                  </a:lnTo>
                  <a:lnTo>
                    <a:pt x="319" y="665"/>
                  </a:lnTo>
                  <a:lnTo>
                    <a:pt x="319" y="653"/>
                  </a:lnTo>
                  <a:lnTo>
                    <a:pt x="319" y="640"/>
                  </a:lnTo>
                  <a:lnTo>
                    <a:pt x="320" y="628"/>
                  </a:lnTo>
                  <a:lnTo>
                    <a:pt x="322" y="616"/>
                  </a:lnTo>
                  <a:lnTo>
                    <a:pt x="324" y="603"/>
                  </a:lnTo>
                  <a:lnTo>
                    <a:pt x="327" y="591"/>
                  </a:lnTo>
                  <a:lnTo>
                    <a:pt x="330" y="579"/>
                  </a:lnTo>
                  <a:lnTo>
                    <a:pt x="333" y="566"/>
                  </a:lnTo>
                  <a:lnTo>
                    <a:pt x="337" y="554"/>
                  </a:lnTo>
                  <a:lnTo>
                    <a:pt x="342" y="542"/>
                  </a:lnTo>
                  <a:lnTo>
                    <a:pt x="347" y="530"/>
                  </a:lnTo>
                  <a:lnTo>
                    <a:pt x="353" y="519"/>
                  </a:lnTo>
                  <a:lnTo>
                    <a:pt x="359" y="507"/>
                  </a:lnTo>
                  <a:lnTo>
                    <a:pt x="366" y="496"/>
                  </a:lnTo>
                  <a:lnTo>
                    <a:pt x="371" y="488"/>
                  </a:lnTo>
                  <a:lnTo>
                    <a:pt x="377" y="480"/>
                  </a:lnTo>
                  <a:lnTo>
                    <a:pt x="383" y="472"/>
                  </a:lnTo>
                  <a:lnTo>
                    <a:pt x="389" y="464"/>
                  </a:lnTo>
                  <a:lnTo>
                    <a:pt x="395" y="457"/>
                  </a:lnTo>
                  <a:lnTo>
                    <a:pt x="401" y="450"/>
                  </a:lnTo>
                  <a:lnTo>
                    <a:pt x="408" y="443"/>
                  </a:lnTo>
                  <a:lnTo>
                    <a:pt x="414" y="436"/>
                  </a:lnTo>
                  <a:lnTo>
                    <a:pt x="421" y="430"/>
                  </a:lnTo>
                  <a:lnTo>
                    <a:pt x="428" y="424"/>
                  </a:lnTo>
                  <a:lnTo>
                    <a:pt x="435" y="418"/>
                  </a:lnTo>
                  <a:lnTo>
                    <a:pt x="443" y="412"/>
                  </a:lnTo>
                  <a:lnTo>
                    <a:pt x="450" y="406"/>
                  </a:lnTo>
                  <a:lnTo>
                    <a:pt x="458" y="401"/>
                  </a:lnTo>
                  <a:lnTo>
                    <a:pt x="465" y="396"/>
                  </a:lnTo>
                  <a:lnTo>
                    <a:pt x="473" y="391"/>
                  </a:lnTo>
                  <a:lnTo>
                    <a:pt x="504" y="454"/>
                  </a:lnTo>
                  <a:lnTo>
                    <a:pt x="534" y="185"/>
                  </a:lnTo>
                  <a:lnTo>
                    <a:pt x="329" y="0"/>
                  </a:lnTo>
                  <a:lnTo>
                    <a:pt x="363" y="79"/>
                  </a:lnTo>
                  <a:lnTo>
                    <a:pt x="344" y="89"/>
                  </a:lnTo>
                  <a:lnTo>
                    <a:pt x="324" y="99"/>
                  </a:lnTo>
                  <a:lnTo>
                    <a:pt x="305" y="111"/>
                  </a:lnTo>
                  <a:lnTo>
                    <a:pt x="286" y="123"/>
                  </a:lnTo>
                  <a:lnTo>
                    <a:pt x="267" y="136"/>
                  </a:lnTo>
                  <a:lnTo>
                    <a:pt x="249" y="150"/>
                  </a:lnTo>
                  <a:lnTo>
                    <a:pt x="231" y="164"/>
                  </a:lnTo>
                  <a:lnTo>
                    <a:pt x="214" y="180"/>
                  </a:lnTo>
                  <a:lnTo>
                    <a:pt x="197" y="196"/>
                  </a:lnTo>
                  <a:lnTo>
                    <a:pt x="180" y="212"/>
                  </a:lnTo>
                  <a:lnTo>
                    <a:pt x="165" y="229"/>
                  </a:lnTo>
                  <a:lnTo>
                    <a:pt x="149" y="247"/>
                  </a:lnTo>
                  <a:lnTo>
                    <a:pt x="134" y="265"/>
                  </a:lnTo>
                  <a:lnTo>
                    <a:pt x="120" y="284"/>
                  </a:lnTo>
                  <a:lnTo>
                    <a:pt x="107" y="303"/>
                  </a:lnTo>
                  <a:lnTo>
                    <a:pt x="94" y="323"/>
                  </a:lnTo>
                  <a:lnTo>
                    <a:pt x="80" y="347"/>
                  </a:lnTo>
                  <a:lnTo>
                    <a:pt x="67" y="371"/>
                  </a:lnTo>
                  <a:lnTo>
                    <a:pt x="55" y="395"/>
                  </a:lnTo>
                  <a:lnTo>
                    <a:pt x="45" y="420"/>
                  </a:lnTo>
                  <a:lnTo>
                    <a:pt x="35" y="445"/>
                  </a:lnTo>
                  <a:lnTo>
                    <a:pt x="27" y="470"/>
                  </a:lnTo>
                  <a:lnTo>
                    <a:pt x="20" y="496"/>
                  </a:lnTo>
                  <a:lnTo>
                    <a:pt x="14" y="521"/>
                  </a:lnTo>
                  <a:lnTo>
                    <a:pt x="9" y="547"/>
                  </a:lnTo>
                  <a:lnTo>
                    <a:pt x="5" y="573"/>
                  </a:lnTo>
                  <a:lnTo>
                    <a:pt x="2" y="599"/>
                  </a:lnTo>
                  <a:lnTo>
                    <a:pt x="1" y="625"/>
                  </a:lnTo>
                  <a:lnTo>
                    <a:pt x="0" y="651"/>
                  </a:lnTo>
                  <a:lnTo>
                    <a:pt x="1" y="676"/>
                  </a:lnTo>
                  <a:lnTo>
                    <a:pt x="2" y="702"/>
                  </a:lnTo>
                  <a:lnTo>
                    <a:pt x="5" y="728"/>
                  </a:lnTo>
                  <a:lnTo>
                    <a:pt x="9" y="754"/>
                  </a:lnTo>
                  <a:lnTo>
                    <a:pt x="13" y="779"/>
                  </a:lnTo>
                  <a:lnTo>
                    <a:pt x="19" y="804"/>
                  </a:lnTo>
                  <a:lnTo>
                    <a:pt x="26" y="830"/>
                  </a:lnTo>
                  <a:lnTo>
                    <a:pt x="34" y="854"/>
                  </a:lnTo>
                  <a:lnTo>
                    <a:pt x="43" y="879"/>
                  </a:lnTo>
                  <a:lnTo>
                    <a:pt x="52" y="903"/>
                  </a:lnTo>
                  <a:lnTo>
                    <a:pt x="63" y="927"/>
                  </a:lnTo>
                  <a:lnTo>
                    <a:pt x="75" y="950"/>
                  </a:lnTo>
                  <a:lnTo>
                    <a:pt x="88" y="973"/>
                  </a:lnTo>
                  <a:lnTo>
                    <a:pt x="102" y="995"/>
                  </a:lnTo>
                  <a:lnTo>
                    <a:pt x="116" y="1017"/>
                  </a:lnTo>
                  <a:lnTo>
                    <a:pt x="132" y="1039"/>
                  </a:lnTo>
                  <a:lnTo>
                    <a:pt x="149" y="1060"/>
                  </a:lnTo>
                  <a:lnTo>
                    <a:pt x="166" y="1080"/>
                  </a:lnTo>
                  <a:lnTo>
                    <a:pt x="185" y="1099"/>
                  </a:lnTo>
                  <a:lnTo>
                    <a:pt x="230" y="935"/>
                  </a:lnTo>
                  <a:lnTo>
                    <a:pt x="398" y="870"/>
                  </a:lnTo>
                  <a:lnTo>
                    <a:pt x="398" y="870"/>
                  </a:lnTo>
                  <a:close/>
                </a:path>
              </a:pathLst>
            </a:custGeom>
            <a:solidFill>
              <a:schemeClr val="accent1"/>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9" name="Freeform 5">
              <a:extLst>
                <a:ext uri="{FF2B5EF4-FFF2-40B4-BE49-F238E27FC236}">
                  <a16:creationId xmlns:a16="http://schemas.microsoft.com/office/drawing/2014/main" id="{D4B62A1D-35DD-4B45-11DA-78BCD5AAF0E6}"/>
                </a:ext>
              </a:extLst>
            </p:cNvPr>
            <p:cNvSpPr>
              <a:spLocks/>
            </p:cNvSpPr>
            <p:nvPr>
              <p:custDataLst>
                <p:tags r:id="rId3"/>
              </p:custDataLst>
            </p:nvPr>
          </p:nvSpPr>
          <p:spPr bwMode="auto">
            <a:xfrm rot="2315660">
              <a:off x="541641" y="4153153"/>
              <a:ext cx="4022822" cy="2005025"/>
            </a:xfrm>
            <a:custGeom>
              <a:avLst/>
              <a:gdLst>
                <a:gd name="T0" fmla="*/ 730 w 1037"/>
                <a:gd name="T1" fmla="*/ 11 h 526"/>
                <a:gd name="T2" fmla="*/ 719 w 1037"/>
                <a:gd name="T3" fmla="*/ 34 h 526"/>
                <a:gd name="T4" fmla="*/ 707 w 1037"/>
                <a:gd name="T5" fmla="*/ 56 h 526"/>
                <a:gd name="T6" fmla="*/ 693 w 1037"/>
                <a:gd name="T7" fmla="*/ 77 h 526"/>
                <a:gd name="T8" fmla="*/ 678 w 1037"/>
                <a:gd name="T9" fmla="*/ 96 h 526"/>
                <a:gd name="T10" fmla="*/ 661 w 1037"/>
                <a:gd name="T11" fmla="*/ 114 h 526"/>
                <a:gd name="T12" fmla="*/ 642 w 1037"/>
                <a:gd name="T13" fmla="*/ 131 h 526"/>
                <a:gd name="T14" fmla="*/ 623 w 1037"/>
                <a:gd name="T15" fmla="*/ 146 h 526"/>
                <a:gd name="T16" fmla="*/ 602 w 1037"/>
                <a:gd name="T17" fmla="*/ 160 h 526"/>
                <a:gd name="T18" fmla="*/ 580 w 1037"/>
                <a:gd name="T19" fmla="*/ 172 h 526"/>
                <a:gd name="T20" fmla="*/ 558 w 1037"/>
                <a:gd name="T21" fmla="*/ 182 h 526"/>
                <a:gd name="T22" fmla="*/ 534 w 1037"/>
                <a:gd name="T23" fmla="*/ 190 h 526"/>
                <a:gd name="T24" fmla="*/ 510 w 1037"/>
                <a:gd name="T25" fmla="*/ 197 h 526"/>
                <a:gd name="T26" fmla="*/ 484 w 1037"/>
                <a:gd name="T27" fmla="*/ 201 h 526"/>
                <a:gd name="T28" fmla="*/ 459 w 1037"/>
                <a:gd name="T29" fmla="*/ 204 h 526"/>
                <a:gd name="T30" fmla="*/ 432 w 1037"/>
                <a:gd name="T31" fmla="*/ 204 h 526"/>
                <a:gd name="T32" fmla="*/ 410 w 1037"/>
                <a:gd name="T33" fmla="*/ 203 h 526"/>
                <a:gd name="T34" fmla="*/ 391 w 1037"/>
                <a:gd name="T35" fmla="*/ 200 h 526"/>
                <a:gd name="T36" fmla="*/ 372 w 1037"/>
                <a:gd name="T37" fmla="*/ 196 h 526"/>
                <a:gd name="T38" fmla="*/ 353 w 1037"/>
                <a:gd name="T39" fmla="*/ 192 h 526"/>
                <a:gd name="T40" fmla="*/ 335 w 1037"/>
                <a:gd name="T41" fmla="*/ 186 h 526"/>
                <a:gd name="T42" fmla="*/ 318 w 1037"/>
                <a:gd name="T43" fmla="*/ 179 h 526"/>
                <a:gd name="T44" fmla="*/ 301 w 1037"/>
                <a:gd name="T45" fmla="*/ 171 h 526"/>
                <a:gd name="T46" fmla="*/ 285 w 1037"/>
                <a:gd name="T47" fmla="*/ 163 h 526"/>
                <a:gd name="T48" fmla="*/ 318 w 1037"/>
                <a:gd name="T49" fmla="*/ 101 h 526"/>
                <a:gd name="T50" fmla="*/ 0 w 1037"/>
                <a:gd name="T51" fmla="*/ 469 h 526"/>
                <a:gd name="T52" fmla="*/ 71 w 1037"/>
                <a:gd name="T53" fmla="*/ 414 h 526"/>
                <a:gd name="T54" fmla="*/ 108 w 1037"/>
                <a:gd name="T55" fmla="*/ 438 h 526"/>
                <a:gd name="T56" fmla="*/ 148 w 1037"/>
                <a:gd name="T57" fmla="*/ 460 h 526"/>
                <a:gd name="T58" fmla="*/ 190 w 1037"/>
                <a:gd name="T59" fmla="*/ 478 h 526"/>
                <a:gd name="T60" fmla="*/ 234 w 1037"/>
                <a:gd name="T61" fmla="*/ 494 h 526"/>
                <a:gd name="T62" fmla="*/ 279 w 1037"/>
                <a:gd name="T63" fmla="*/ 507 h 526"/>
                <a:gd name="T64" fmla="*/ 325 w 1037"/>
                <a:gd name="T65" fmla="*/ 516 h 526"/>
                <a:gd name="T66" fmla="*/ 371 w 1037"/>
                <a:gd name="T67" fmla="*/ 523 h 526"/>
                <a:gd name="T68" fmla="*/ 422 w 1037"/>
                <a:gd name="T69" fmla="*/ 526 h 526"/>
                <a:gd name="T70" fmla="*/ 476 w 1037"/>
                <a:gd name="T71" fmla="*/ 525 h 526"/>
                <a:gd name="T72" fmla="*/ 530 w 1037"/>
                <a:gd name="T73" fmla="*/ 519 h 526"/>
                <a:gd name="T74" fmla="*/ 582 w 1037"/>
                <a:gd name="T75" fmla="*/ 509 h 526"/>
                <a:gd name="T76" fmla="*/ 632 w 1037"/>
                <a:gd name="T77" fmla="*/ 495 h 526"/>
                <a:gd name="T78" fmla="*/ 681 w 1037"/>
                <a:gd name="T79" fmla="*/ 476 h 526"/>
                <a:gd name="T80" fmla="*/ 728 w 1037"/>
                <a:gd name="T81" fmla="*/ 454 h 526"/>
                <a:gd name="T82" fmla="*/ 773 w 1037"/>
                <a:gd name="T83" fmla="*/ 428 h 526"/>
                <a:gd name="T84" fmla="*/ 815 w 1037"/>
                <a:gd name="T85" fmla="*/ 398 h 526"/>
                <a:gd name="T86" fmla="*/ 855 w 1037"/>
                <a:gd name="T87" fmla="*/ 365 h 526"/>
                <a:gd name="T88" fmla="*/ 892 w 1037"/>
                <a:gd name="T89" fmla="*/ 329 h 526"/>
                <a:gd name="T90" fmla="*/ 926 w 1037"/>
                <a:gd name="T91" fmla="*/ 289 h 526"/>
                <a:gd name="T92" fmla="*/ 957 w 1037"/>
                <a:gd name="T93" fmla="*/ 247 h 526"/>
                <a:gd name="T94" fmla="*/ 985 w 1037"/>
                <a:gd name="T95" fmla="*/ 202 h 526"/>
                <a:gd name="T96" fmla="*/ 1009 w 1037"/>
                <a:gd name="T97" fmla="*/ 155 h 526"/>
                <a:gd name="T98" fmla="*/ 1029 w 1037"/>
                <a:gd name="T99" fmla="*/ 106 h 526"/>
                <a:gd name="T100" fmla="*/ 872 w 1037"/>
                <a:gd name="T101" fmla="*/ 117 h 526"/>
                <a:gd name="T102" fmla="*/ 735 w 1037"/>
                <a:gd name="T103"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7" h="526">
                  <a:moveTo>
                    <a:pt x="735" y="0"/>
                  </a:moveTo>
                  <a:lnTo>
                    <a:pt x="730" y="11"/>
                  </a:lnTo>
                  <a:lnTo>
                    <a:pt x="725" y="23"/>
                  </a:lnTo>
                  <a:lnTo>
                    <a:pt x="719" y="34"/>
                  </a:lnTo>
                  <a:lnTo>
                    <a:pt x="713" y="45"/>
                  </a:lnTo>
                  <a:lnTo>
                    <a:pt x="707" y="56"/>
                  </a:lnTo>
                  <a:lnTo>
                    <a:pt x="700" y="67"/>
                  </a:lnTo>
                  <a:lnTo>
                    <a:pt x="693" y="77"/>
                  </a:lnTo>
                  <a:lnTo>
                    <a:pt x="686" y="87"/>
                  </a:lnTo>
                  <a:lnTo>
                    <a:pt x="678" y="96"/>
                  </a:lnTo>
                  <a:lnTo>
                    <a:pt x="669" y="105"/>
                  </a:lnTo>
                  <a:lnTo>
                    <a:pt x="661" y="114"/>
                  </a:lnTo>
                  <a:lnTo>
                    <a:pt x="652" y="123"/>
                  </a:lnTo>
                  <a:lnTo>
                    <a:pt x="642" y="131"/>
                  </a:lnTo>
                  <a:lnTo>
                    <a:pt x="633" y="139"/>
                  </a:lnTo>
                  <a:lnTo>
                    <a:pt x="623" y="146"/>
                  </a:lnTo>
                  <a:lnTo>
                    <a:pt x="613" y="153"/>
                  </a:lnTo>
                  <a:lnTo>
                    <a:pt x="602" y="160"/>
                  </a:lnTo>
                  <a:lnTo>
                    <a:pt x="591" y="166"/>
                  </a:lnTo>
                  <a:lnTo>
                    <a:pt x="580" y="172"/>
                  </a:lnTo>
                  <a:lnTo>
                    <a:pt x="569" y="177"/>
                  </a:lnTo>
                  <a:lnTo>
                    <a:pt x="558" y="182"/>
                  </a:lnTo>
                  <a:lnTo>
                    <a:pt x="546" y="186"/>
                  </a:lnTo>
                  <a:lnTo>
                    <a:pt x="534" y="190"/>
                  </a:lnTo>
                  <a:lnTo>
                    <a:pt x="522" y="194"/>
                  </a:lnTo>
                  <a:lnTo>
                    <a:pt x="510" y="197"/>
                  </a:lnTo>
                  <a:lnTo>
                    <a:pt x="497" y="199"/>
                  </a:lnTo>
                  <a:lnTo>
                    <a:pt x="484" y="201"/>
                  </a:lnTo>
                  <a:lnTo>
                    <a:pt x="472" y="203"/>
                  </a:lnTo>
                  <a:lnTo>
                    <a:pt x="459" y="204"/>
                  </a:lnTo>
                  <a:lnTo>
                    <a:pt x="446" y="204"/>
                  </a:lnTo>
                  <a:lnTo>
                    <a:pt x="432" y="204"/>
                  </a:lnTo>
                  <a:lnTo>
                    <a:pt x="419" y="203"/>
                  </a:lnTo>
                  <a:lnTo>
                    <a:pt x="410" y="203"/>
                  </a:lnTo>
                  <a:lnTo>
                    <a:pt x="400" y="201"/>
                  </a:lnTo>
                  <a:lnTo>
                    <a:pt x="391" y="200"/>
                  </a:lnTo>
                  <a:lnTo>
                    <a:pt x="381" y="198"/>
                  </a:lnTo>
                  <a:lnTo>
                    <a:pt x="372" y="196"/>
                  </a:lnTo>
                  <a:lnTo>
                    <a:pt x="363" y="194"/>
                  </a:lnTo>
                  <a:lnTo>
                    <a:pt x="353" y="192"/>
                  </a:lnTo>
                  <a:lnTo>
                    <a:pt x="344" y="189"/>
                  </a:lnTo>
                  <a:lnTo>
                    <a:pt x="335" y="186"/>
                  </a:lnTo>
                  <a:lnTo>
                    <a:pt x="327" y="182"/>
                  </a:lnTo>
                  <a:lnTo>
                    <a:pt x="318" y="179"/>
                  </a:lnTo>
                  <a:lnTo>
                    <a:pt x="309" y="175"/>
                  </a:lnTo>
                  <a:lnTo>
                    <a:pt x="301" y="171"/>
                  </a:lnTo>
                  <a:lnTo>
                    <a:pt x="293" y="167"/>
                  </a:lnTo>
                  <a:lnTo>
                    <a:pt x="285" y="163"/>
                  </a:lnTo>
                  <a:lnTo>
                    <a:pt x="277" y="158"/>
                  </a:lnTo>
                  <a:lnTo>
                    <a:pt x="318" y="101"/>
                  </a:lnTo>
                  <a:lnTo>
                    <a:pt x="67" y="201"/>
                  </a:lnTo>
                  <a:lnTo>
                    <a:pt x="0" y="469"/>
                  </a:lnTo>
                  <a:lnTo>
                    <a:pt x="53" y="401"/>
                  </a:lnTo>
                  <a:lnTo>
                    <a:pt x="71" y="414"/>
                  </a:lnTo>
                  <a:lnTo>
                    <a:pt x="89" y="427"/>
                  </a:lnTo>
                  <a:lnTo>
                    <a:pt x="108" y="438"/>
                  </a:lnTo>
                  <a:lnTo>
                    <a:pt x="128" y="449"/>
                  </a:lnTo>
                  <a:lnTo>
                    <a:pt x="148" y="460"/>
                  </a:lnTo>
                  <a:lnTo>
                    <a:pt x="169" y="469"/>
                  </a:lnTo>
                  <a:lnTo>
                    <a:pt x="190" y="478"/>
                  </a:lnTo>
                  <a:lnTo>
                    <a:pt x="212" y="486"/>
                  </a:lnTo>
                  <a:lnTo>
                    <a:pt x="234" y="494"/>
                  </a:lnTo>
                  <a:lnTo>
                    <a:pt x="256" y="501"/>
                  </a:lnTo>
                  <a:lnTo>
                    <a:pt x="279" y="507"/>
                  </a:lnTo>
                  <a:lnTo>
                    <a:pt x="302" y="512"/>
                  </a:lnTo>
                  <a:lnTo>
                    <a:pt x="325" y="516"/>
                  </a:lnTo>
                  <a:lnTo>
                    <a:pt x="348" y="520"/>
                  </a:lnTo>
                  <a:lnTo>
                    <a:pt x="371" y="523"/>
                  </a:lnTo>
                  <a:lnTo>
                    <a:pt x="395" y="525"/>
                  </a:lnTo>
                  <a:lnTo>
                    <a:pt x="422" y="526"/>
                  </a:lnTo>
                  <a:lnTo>
                    <a:pt x="449" y="526"/>
                  </a:lnTo>
                  <a:lnTo>
                    <a:pt x="476" y="525"/>
                  </a:lnTo>
                  <a:lnTo>
                    <a:pt x="503" y="523"/>
                  </a:lnTo>
                  <a:lnTo>
                    <a:pt x="530" y="519"/>
                  </a:lnTo>
                  <a:lnTo>
                    <a:pt x="556" y="515"/>
                  </a:lnTo>
                  <a:lnTo>
                    <a:pt x="582" y="509"/>
                  </a:lnTo>
                  <a:lnTo>
                    <a:pt x="607" y="503"/>
                  </a:lnTo>
                  <a:lnTo>
                    <a:pt x="632" y="495"/>
                  </a:lnTo>
                  <a:lnTo>
                    <a:pt x="657" y="486"/>
                  </a:lnTo>
                  <a:lnTo>
                    <a:pt x="681" y="476"/>
                  </a:lnTo>
                  <a:lnTo>
                    <a:pt x="705" y="466"/>
                  </a:lnTo>
                  <a:lnTo>
                    <a:pt x="728" y="454"/>
                  </a:lnTo>
                  <a:lnTo>
                    <a:pt x="750" y="441"/>
                  </a:lnTo>
                  <a:lnTo>
                    <a:pt x="773" y="428"/>
                  </a:lnTo>
                  <a:lnTo>
                    <a:pt x="794" y="413"/>
                  </a:lnTo>
                  <a:lnTo>
                    <a:pt x="815" y="398"/>
                  </a:lnTo>
                  <a:lnTo>
                    <a:pt x="835" y="382"/>
                  </a:lnTo>
                  <a:lnTo>
                    <a:pt x="855" y="365"/>
                  </a:lnTo>
                  <a:lnTo>
                    <a:pt x="874" y="347"/>
                  </a:lnTo>
                  <a:lnTo>
                    <a:pt x="892" y="329"/>
                  </a:lnTo>
                  <a:lnTo>
                    <a:pt x="909" y="309"/>
                  </a:lnTo>
                  <a:lnTo>
                    <a:pt x="926" y="289"/>
                  </a:lnTo>
                  <a:lnTo>
                    <a:pt x="942" y="269"/>
                  </a:lnTo>
                  <a:lnTo>
                    <a:pt x="957" y="247"/>
                  </a:lnTo>
                  <a:lnTo>
                    <a:pt x="971" y="225"/>
                  </a:lnTo>
                  <a:lnTo>
                    <a:pt x="985" y="202"/>
                  </a:lnTo>
                  <a:lnTo>
                    <a:pt x="997" y="179"/>
                  </a:lnTo>
                  <a:lnTo>
                    <a:pt x="1009" y="155"/>
                  </a:lnTo>
                  <a:lnTo>
                    <a:pt x="1019" y="131"/>
                  </a:lnTo>
                  <a:lnTo>
                    <a:pt x="1029" y="106"/>
                  </a:lnTo>
                  <a:lnTo>
                    <a:pt x="1037" y="80"/>
                  </a:lnTo>
                  <a:lnTo>
                    <a:pt x="872" y="117"/>
                  </a:lnTo>
                  <a:lnTo>
                    <a:pt x="735" y="0"/>
                  </a:lnTo>
                  <a:lnTo>
                    <a:pt x="735" y="0"/>
                  </a:lnTo>
                  <a:close/>
                </a:path>
              </a:pathLst>
            </a:custGeom>
            <a:solidFill>
              <a:schemeClr val="tx2"/>
            </a:solidFill>
            <a:ln w="1143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18" name="Freeform 4">
              <a:extLst>
                <a:ext uri="{FF2B5EF4-FFF2-40B4-BE49-F238E27FC236}">
                  <a16:creationId xmlns:a16="http://schemas.microsoft.com/office/drawing/2014/main" id="{3E4754B1-1F49-A990-2B62-5F8152923055}"/>
                </a:ext>
              </a:extLst>
            </p:cNvPr>
            <p:cNvSpPr>
              <a:spLocks/>
            </p:cNvSpPr>
            <p:nvPr>
              <p:custDataLst>
                <p:tags r:id="rId4"/>
              </p:custDataLst>
            </p:nvPr>
          </p:nvSpPr>
          <p:spPr bwMode="auto">
            <a:xfrm rot="2243846">
              <a:off x="2785322" y="2246716"/>
              <a:ext cx="3454520" cy="3128859"/>
            </a:xfrm>
            <a:custGeom>
              <a:avLst/>
              <a:gdLst>
                <a:gd name="T0" fmla="*/ 125 w 893"/>
                <a:gd name="T1" fmla="*/ 323 h 826"/>
                <a:gd name="T2" fmla="*/ 151 w 893"/>
                <a:gd name="T3" fmla="*/ 323 h 826"/>
                <a:gd name="T4" fmla="*/ 177 w 893"/>
                <a:gd name="T5" fmla="*/ 324 h 826"/>
                <a:gd name="T6" fmla="*/ 204 w 893"/>
                <a:gd name="T7" fmla="*/ 327 h 826"/>
                <a:gd name="T8" fmla="*/ 230 w 893"/>
                <a:gd name="T9" fmla="*/ 331 h 826"/>
                <a:gd name="T10" fmla="*/ 257 w 893"/>
                <a:gd name="T11" fmla="*/ 338 h 826"/>
                <a:gd name="T12" fmla="*/ 282 w 893"/>
                <a:gd name="T13" fmla="*/ 346 h 826"/>
                <a:gd name="T14" fmla="*/ 308 w 893"/>
                <a:gd name="T15" fmla="*/ 356 h 826"/>
                <a:gd name="T16" fmla="*/ 332 w 893"/>
                <a:gd name="T17" fmla="*/ 367 h 826"/>
                <a:gd name="T18" fmla="*/ 355 w 893"/>
                <a:gd name="T19" fmla="*/ 380 h 826"/>
                <a:gd name="T20" fmla="*/ 377 w 893"/>
                <a:gd name="T21" fmla="*/ 395 h 826"/>
                <a:gd name="T22" fmla="*/ 398 w 893"/>
                <a:gd name="T23" fmla="*/ 412 h 826"/>
                <a:gd name="T24" fmla="*/ 417 w 893"/>
                <a:gd name="T25" fmla="*/ 430 h 826"/>
                <a:gd name="T26" fmla="*/ 434 w 893"/>
                <a:gd name="T27" fmla="*/ 450 h 826"/>
                <a:gd name="T28" fmla="*/ 449 w 893"/>
                <a:gd name="T29" fmla="*/ 472 h 826"/>
                <a:gd name="T30" fmla="*/ 461 w 893"/>
                <a:gd name="T31" fmla="*/ 495 h 826"/>
                <a:gd name="T32" fmla="*/ 473 w 893"/>
                <a:gd name="T33" fmla="*/ 526 h 826"/>
                <a:gd name="T34" fmla="*/ 484 w 893"/>
                <a:gd name="T35" fmla="*/ 563 h 826"/>
                <a:gd name="T36" fmla="*/ 488 w 893"/>
                <a:gd name="T37" fmla="*/ 581 h 826"/>
                <a:gd name="T38" fmla="*/ 491 w 893"/>
                <a:gd name="T39" fmla="*/ 600 h 826"/>
                <a:gd name="T40" fmla="*/ 492 w 893"/>
                <a:gd name="T41" fmla="*/ 619 h 826"/>
                <a:gd name="T42" fmla="*/ 493 w 893"/>
                <a:gd name="T43" fmla="*/ 637 h 826"/>
                <a:gd name="T44" fmla="*/ 492 w 893"/>
                <a:gd name="T45" fmla="*/ 655 h 826"/>
                <a:gd name="T46" fmla="*/ 623 w 893"/>
                <a:gd name="T47" fmla="*/ 826 h 826"/>
                <a:gd name="T48" fmla="*/ 809 w 893"/>
                <a:gd name="T49" fmla="*/ 750 h 826"/>
                <a:gd name="T50" fmla="*/ 816 w 893"/>
                <a:gd name="T51" fmla="*/ 706 h 826"/>
                <a:gd name="T52" fmla="*/ 819 w 893"/>
                <a:gd name="T53" fmla="*/ 662 h 826"/>
                <a:gd name="T54" fmla="*/ 819 w 893"/>
                <a:gd name="T55" fmla="*/ 616 h 826"/>
                <a:gd name="T56" fmla="*/ 816 w 893"/>
                <a:gd name="T57" fmla="*/ 570 h 826"/>
                <a:gd name="T58" fmla="*/ 809 w 893"/>
                <a:gd name="T59" fmla="*/ 524 h 826"/>
                <a:gd name="T60" fmla="*/ 799 w 893"/>
                <a:gd name="T61" fmla="*/ 478 h 826"/>
                <a:gd name="T62" fmla="*/ 786 w 893"/>
                <a:gd name="T63" fmla="*/ 433 h 826"/>
                <a:gd name="T64" fmla="*/ 770 w 893"/>
                <a:gd name="T65" fmla="*/ 389 h 826"/>
                <a:gd name="T66" fmla="*/ 758 w 893"/>
                <a:gd name="T67" fmla="*/ 362 h 826"/>
                <a:gd name="T68" fmla="*/ 745 w 893"/>
                <a:gd name="T69" fmla="*/ 337 h 826"/>
                <a:gd name="T70" fmla="*/ 731 w 893"/>
                <a:gd name="T71" fmla="*/ 311 h 826"/>
                <a:gd name="T72" fmla="*/ 716 w 893"/>
                <a:gd name="T73" fmla="*/ 287 h 826"/>
                <a:gd name="T74" fmla="*/ 700 w 893"/>
                <a:gd name="T75" fmla="*/ 263 h 826"/>
                <a:gd name="T76" fmla="*/ 682 w 893"/>
                <a:gd name="T77" fmla="*/ 241 h 826"/>
                <a:gd name="T78" fmla="*/ 645 w 893"/>
                <a:gd name="T79" fmla="*/ 198 h 826"/>
                <a:gd name="T80" fmla="*/ 604 w 893"/>
                <a:gd name="T81" fmla="*/ 159 h 826"/>
                <a:gd name="T82" fmla="*/ 560 w 893"/>
                <a:gd name="T83" fmla="*/ 123 h 826"/>
                <a:gd name="T84" fmla="*/ 512 w 893"/>
                <a:gd name="T85" fmla="*/ 92 h 826"/>
                <a:gd name="T86" fmla="*/ 462 w 893"/>
                <a:gd name="T87" fmla="*/ 65 h 826"/>
                <a:gd name="T88" fmla="*/ 410 w 893"/>
                <a:gd name="T89" fmla="*/ 42 h 826"/>
                <a:gd name="T90" fmla="*/ 355 w 893"/>
                <a:gd name="T91" fmla="*/ 24 h 826"/>
                <a:gd name="T92" fmla="*/ 299 w 893"/>
                <a:gd name="T93" fmla="*/ 11 h 826"/>
                <a:gd name="T94" fmla="*/ 241 w 893"/>
                <a:gd name="T95" fmla="*/ 3 h 826"/>
                <a:gd name="T96" fmla="*/ 211 w 893"/>
                <a:gd name="T97" fmla="*/ 1 h 826"/>
                <a:gd name="T98" fmla="*/ 181 w 893"/>
                <a:gd name="T99" fmla="*/ 0 h 826"/>
                <a:gd name="T100" fmla="*/ 151 w 893"/>
                <a:gd name="T101" fmla="*/ 0 h 826"/>
                <a:gd name="T102" fmla="*/ 121 w 893"/>
                <a:gd name="T103" fmla="*/ 2 h 826"/>
                <a:gd name="T104" fmla="*/ 91 w 893"/>
                <a:gd name="T105" fmla="*/ 6 h 826"/>
                <a:gd name="T106" fmla="*/ 61 w 893"/>
                <a:gd name="T107" fmla="*/ 10 h 826"/>
                <a:gd name="T108" fmla="*/ 30 w 893"/>
                <a:gd name="T109" fmla="*/ 17 h 826"/>
                <a:gd name="T110" fmla="*/ 0 w 893"/>
                <a:gd name="T111" fmla="*/ 24 h 826"/>
                <a:gd name="T112" fmla="*/ 112 w 893"/>
                <a:gd name="T113" fmla="*/ 3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3" h="826">
                  <a:moveTo>
                    <a:pt x="112" y="325"/>
                  </a:moveTo>
                  <a:lnTo>
                    <a:pt x="125" y="323"/>
                  </a:lnTo>
                  <a:lnTo>
                    <a:pt x="138" y="323"/>
                  </a:lnTo>
                  <a:lnTo>
                    <a:pt x="151" y="323"/>
                  </a:lnTo>
                  <a:lnTo>
                    <a:pt x="164" y="323"/>
                  </a:lnTo>
                  <a:lnTo>
                    <a:pt x="177" y="324"/>
                  </a:lnTo>
                  <a:lnTo>
                    <a:pt x="190" y="325"/>
                  </a:lnTo>
                  <a:lnTo>
                    <a:pt x="204" y="327"/>
                  </a:lnTo>
                  <a:lnTo>
                    <a:pt x="217" y="329"/>
                  </a:lnTo>
                  <a:lnTo>
                    <a:pt x="230" y="331"/>
                  </a:lnTo>
                  <a:lnTo>
                    <a:pt x="243" y="334"/>
                  </a:lnTo>
                  <a:lnTo>
                    <a:pt x="257" y="338"/>
                  </a:lnTo>
                  <a:lnTo>
                    <a:pt x="270" y="341"/>
                  </a:lnTo>
                  <a:lnTo>
                    <a:pt x="282" y="346"/>
                  </a:lnTo>
                  <a:lnTo>
                    <a:pt x="295" y="350"/>
                  </a:lnTo>
                  <a:lnTo>
                    <a:pt x="308" y="356"/>
                  </a:lnTo>
                  <a:lnTo>
                    <a:pt x="320" y="361"/>
                  </a:lnTo>
                  <a:lnTo>
                    <a:pt x="332" y="367"/>
                  </a:lnTo>
                  <a:lnTo>
                    <a:pt x="344" y="374"/>
                  </a:lnTo>
                  <a:lnTo>
                    <a:pt x="355" y="380"/>
                  </a:lnTo>
                  <a:lnTo>
                    <a:pt x="367" y="388"/>
                  </a:lnTo>
                  <a:lnTo>
                    <a:pt x="377" y="395"/>
                  </a:lnTo>
                  <a:lnTo>
                    <a:pt x="388" y="404"/>
                  </a:lnTo>
                  <a:lnTo>
                    <a:pt x="398" y="412"/>
                  </a:lnTo>
                  <a:lnTo>
                    <a:pt x="408" y="421"/>
                  </a:lnTo>
                  <a:lnTo>
                    <a:pt x="417" y="430"/>
                  </a:lnTo>
                  <a:lnTo>
                    <a:pt x="426" y="440"/>
                  </a:lnTo>
                  <a:lnTo>
                    <a:pt x="434" y="450"/>
                  </a:lnTo>
                  <a:lnTo>
                    <a:pt x="442" y="461"/>
                  </a:lnTo>
                  <a:lnTo>
                    <a:pt x="449" y="472"/>
                  </a:lnTo>
                  <a:lnTo>
                    <a:pt x="455" y="484"/>
                  </a:lnTo>
                  <a:lnTo>
                    <a:pt x="461" y="495"/>
                  </a:lnTo>
                  <a:lnTo>
                    <a:pt x="467" y="508"/>
                  </a:lnTo>
                  <a:lnTo>
                    <a:pt x="473" y="526"/>
                  </a:lnTo>
                  <a:lnTo>
                    <a:pt x="479" y="544"/>
                  </a:lnTo>
                  <a:lnTo>
                    <a:pt x="484" y="563"/>
                  </a:lnTo>
                  <a:lnTo>
                    <a:pt x="486" y="572"/>
                  </a:lnTo>
                  <a:lnTo>
                    <a:pt x="488" y="581"/>
                  </a:lnTo>
                  <a:lnTo>
                    <a:pt x="490" y="591"/>
                  </a:lnTo>
                  <a:lnTo>
                    <a:pt x="491" y="600"/>
                  </a:lnTo>
                  <a:lnTo>
                    <a:pt x="492" y="609"/>
                  </a:lnTo>
                  <a:lnTo>
                    <a:pt x="492" y="619"/>
                  </a:lnTo>
                  <a:lnTo>
                    <a:pt x="493" y="628"/>
                  </a:lnTo>
                  <a:lnTo>
                    <a:pt x="493" y="637"/>
                  </a:lnTo>
                  <a:lnTo>
                    <a:pt x="492" y="646"/>
                  </a:lnTo>
                  <a:lnTo>
                    <a:pt x="492" y="655"/>
                  </a:lnTo>
                  <a:lnTo>
                    <a:pt x="422" y="644"/>
                  </a:lnTo>
                  <a:lnTo>
                    <a:pt x="623" y="826"/>
                  </a:lnTo>
                  <a:lnTo>
                    <a:pt x="893" y="768"/>
                  </a:lnTo>
                  <a:lnTo>
                    <a:pt x="809" y="750"/>
                  </a:lnTo>
                  <a:lnTo>
                    <a:pt x="813" y="728"/>
                  </a:lnTo>
                  <a:lnTo>
                    <a:pt x="816" y="706"/>
                  </a:lnTo>
                  <a:lnTo>
                    <a:pt x="818" y="684"/>
                  </a:lnTo>
                  <a:lnTo>
                    <a:pt x="819" y="662"/>
                  </a:lnTo>
                  <a:lnTo>
                    <a:pt x="819" y="639"/>
                  </a:lnTo>
                  <a:lnTo>
                    <a:pt x="819" y="616"/>
                  </a:lnTo>
                  <a:lnTo>
                    <a:pt x="818" y="593"/>
                  </a:lnTo>
                  <a:lnTo>
                    <a:pt x="816" y="570"/>
                  </a:lnTo>
                  <a:lnTo>
                    <a:pt x="813" y="547"/>
                  </a:lnTo>
                  <a:lnTo>
                    <a:pt x="809" y="524"/>
                  </a:lnTo>
                  <a:lnTo>
                    <a:pt x="804" y="501"/>
                  </a:lnTo>
                  <a:lnTo>
                    <a:pt x="799" y="478"/>
                  </a:lnTo>
                  <a:lnTo>
                    <a:pt x="793" y="455"/>
                  </a:lnTo>
                  <a:lnTo>
                    <a:pt x="786" y="433"/>
                  </a:lnTo>
                  <a:lnTo>
                    <a:pt x="778" y="411"/>
                  </a:lnTo>
                  <a:lnTo>
                    <a:pt x="770" y="389"/>
                  </a:lnTo>
                  <a:lnTo>
                    <a:pt x="764" y="376"/>
                  </a:lnTo>
                  <a:lnTo>
                    <a:pt x="758" y="362"/>
                  </a:lnTo>
                  <a:lnTo>
                    <a:pt x="752" y="349"/>
                  </a:lnTo>
                  <a:lnTo>
                    <a:pt x="745" y="337"/>
                  </a:lnTo>
                  <a:lnTo>
                    <a:pt x="738" y="324"/>
                  </a:lnTo>
                  <a:lnTo>
                    <a:pt x="731" y="311"/>
                  </a:lnTo>
                  <a:lnTo>
                    <a:pt x="723" y="299"/>
                  </a:lnTo>
                  <a:lnTo>
                    <a:pt x="716" y="287"/>
                  </a:lnTo>
                  <a:lnTo>
                    <a:pt x="708" y="275"/>
                  </a:lnTo>
                  <a:lnTo>
                    <a:pt x="700" y="263"/>
                  </a:lnTo>
                  <a:lnTo>
                    <a:pt x="691" y="252"/>
                  </a:lnTo>
                  <a:lnTo>
                    <a:pt x="682" y="241"/>
                  </a:lnTo>
                  <a:lnTo>
                    <a:pt x="664" y="219"/>
                  </a:lnTo>
                  <a:lnTo>
                    <a:pt x="645" y="198"/>
                  </a:lnTo>
                  <a:lnTo>
                    <a:pt x="625" y="178"/>
                  </a:lnTo>
                  <a:lnTo>
                    <a:pt x="604" y="159"/>
                  </a:lnTo>
                  <a:lnTo>
                    <a:pt x="582" y="141"/>
                  </a:lnTo>
                  <a:lnTo>
                    <a:pt x="560" y="123"/>
                  </a:lnTo>
                  <a:lnTo>
                    <a:pt x="536" y="107"/>
                  </a:lnTo>
                  <a:lnTo>
                    <a:pt x="512" y="92"/>
                  </a:lnTo>
                  <a:lnTo>
                    <a:pt x="488" y="78"/>
                  </a:lnTo>
                  <a:lnTo>
                    <a:pt x="462" y="65"/>
                  </a:lnTo>
                  <a:lnTo>
                    <a:pt x="436" y="53"/>
                  </a:lnTo>
                  <a:lnTo>
                    <a:pt x="410" y="42"/>
                  </a:lnTo>
                  <a:lnTo>
                    <a:pt x="383" y="33"/>
                  </a:lnTo>
                  <a:lnTo>
                    <a:pt x="355" y="24"/>
                  </a:lnTo>
                  <a:lnTo>
                    <a:pt x="327" y="17"/>
                  </a:lnTo>
                  <a:lnTo>
                    <a:pt x="299" y="11"/>
                  </a:lnTo>
                  <a:lnTo>
                    <a:pt x="270" y="6"/>
                  </a:lnTo>
                  <a:lnTo>
                    <a:pt x="241" y="3"/>
                  </a:lnTo>
                  <a:lnTo>
                    <a:pt x="226" y="2"/>
                  </a:lnTo>
                  <a:lnTo>
                    <a:pt x="211" y="1"/>
                  </a:lnTo>
                  <a:lnTo>
                    <a:pt x="196" y="0"/>
                  </a:lnTo>
                  <a:lnTo>
                    <a:pt x="181" y="0"/>
                  </a:lnTo>
                  <a:lnTo>
                    <a:pt x="166" y="0"/>
                  </a:lnTo>
                  <a:lnTo>
                    <a:pt x="151" y="0"/>
                  </a:lnTo>
                  <a:lnTo>
                    <a:pt x="136" y="1"/>
                  </a:lnTo>
                  <a:lnTo>
                    <a:pt x="121" y="2"/>
                  </a:lnTo>
                  <a:lnTo>
                    <a:pt x="106" y="4"/>
                  </a:lnTo>
                  <a:lnTo>
                    <a:pt x="91" y="6"/>
                  </a:lnTo>
                  <a:lnTo>
                    <a:pt x="76" y="8"/>
                  </a:lnTo>
                  <a:lnTo>
                    <a:pt x="61" y="10"/>
                  </a:lnTo>
                  <a:lnTo>
                    <a:pt x="45" y="13"/>
                  </a:lnTo>
                  <a:lnTo>
                    <a:pt x="30" y="17"/>
                  </a:lnTo>
                  <a:lnTo>
                    <a:pt x="15" y="20"/>
                  </a:lnTo>
                  <a:lnTo>
                    <a:pt x="0" y="24"/>
                  </a:lnTo>
                  <a:lnTo>
                    <a:pt x="135" y="154"/>
                  </a:lnTo>
                  <a:lnTo>
                    <a:pt x="112" y="325"/>
                  </a:lnTo>
                  <a:lnTo>
                    <a:pt x="112" y="325"/>
                  </a:lnTo>
                  <a:close/>
                </a:path>
              </a:pathLst>
            </a:custGeom>
            <a:solidFill>
              <a:srgbClr val="9AA4C3"/>
            </a:solidFill>
            <a:ln w="34290" cap="flat" cmpd="sng" algn="ctr">
              <a:noFill/>
              <a:prstDash val="solid"/>
              <a:miter lim="800000"/>
              <a:headEnd type="none" w="med" len="med"/>
              <a:tailEnd type="none" w="med" len="med"/>
            </a:ln>
          </p:spPr>
          <p:txBody>
            <a:bodyPr lIns="109728" tIns="54864" rIns="109728" bIns="54864"/>
            <a:lstStyle/>
            <a:p>
              <a:endParaRPr lang="en-US" sz="1350">
                <a:latin typeface="Gill Sans Nova" panose="020B0602020104020203" pitchFamily="34" charset="0"/>
              </a:endParaRPr>
            </a:p>
          </p:txBody>
        </p:sp>
        <p:sp>
          <p:nvSpPr>
            <p:cNvPr id="20" name="TextBox 19">
              <a:extLst>
                <a:ext uri="{FF2B5EF4-FFF2-40B4-BE49-F238E27FC236}">
                  <a16:creationId xmlns:a16="http://schemas.microsoft.com/office/drawing/2014/main" id="{B0A1982C-C4F6-EEE5-06A3-0FC015D7CF6F}"/>
                </a:ext>
              </a:extLst>
            </p:cNvPr>
            <p:cNvSpPr txBox="1"/>
            <p:nvPr/>
          </p:nvSpPr>
          <p:spPr>
            <a:xfrm rot="20514076">
              <a:off x="1323245" y="1878150"/>
              <a:ext cx="3785064" cy="3814007"/>
            </a:xfrm>
            <a:prstGeom prst="rect">
              <a:avLst/>
            </a:prstGeom>
            <a:noFill/>
            <a:ln w="28575">
              <a:noFill/>
            </a:ln>
          </p:spPr>
          <p:txBody>
            <a:bodyPr wrap="square" lIns="109728" tIns="54864" rIns="109728" bIns="54864" rtlCol="0">
              <a:prstTxWarp prst="textArchUp">
                <a:avLst>
                  <a:gd name="adj" fmla="val 5811603"/>
                </a:avLst>
              </a:prstTxWarp>
              <a:spAutoFit/>
            </a:bodyPr>
            <a:lstStyle/>
            <a:p>
              <a:r>
                <a:rPr lang="en-US" sz="2000" b="1" dirty="0">
                  <a:solidFill>
                    <a:schemeClr val="bg1"/>
                  </a:solidFill>
                </a:rPr>
                <a:t>IDENTIFY LEADERS           INVEST &amp; DEVELOP             FORECAST VACANCIES       </a:t>
              </a:r>
            </a:p>
          </p:txBody>
        </p:sp>
      </p:grpSp>
      <p:sp>
        <p:nvSpPr>
          <p:cNvPr id="35" name="TextBox 34">
            <a:extLst>
              <a:ext uri="{FF2B5EF4-FFF2-40B4-BE49-F238E27FC236}">
                <a16:creationId xmlns:a16="http://schemas.microsoft.com/office/drawing/2014/main" id="{74440165-C6C6-F37A-EFDF-85DFD466768F}"/>
              </a:ext>
            </a:extLst>
          </p:cNvPr>
          <p:cNvSpPr txBox="1"/>
          <p:nvPr/>
        </p:nvSpPr>
        <p:spPr>
          <a:xfrm>
            <a:off x="5526947" y="3791290"/>
            <a:ext cx="5953849" cy="2677656"/>
          </a:xfrm>
          <a:prstGeom prst="rect">
            <a:avLst/>
          </a:prstGeom>
          <a:noFill/>
        </p:spPr>
        <p:txBody>
          <a:bodyPr wrap="square" rtlCol="0">
            <a:spAutoFit/>
          </a:bodyPr>
          <a:lstStyle/>
          <a:p>
            <a:r>
              <a:rPr lang="en-US" sz="1400" i="1" dirty="0"/>
              <a:t>It is the intention of the Vacancy Planning Cycle to improve the bench of ready leaders a district can draw from internally when filling campus leadership vacancies. Future leaders developed through this process should be increasingly competitive in a district’s hiring process. That said, identifying the readiness of future leaders is not pre-selecting them for positions, nor is it the guarantee of a position. It is important that Identification and Hiring remain distinct functions (though it makes sense that some criteria used in both are likely to overlap). Identification is for the sole purpose of development and closing gaps to readiness. Selection should be an open and equitable process in which those not “identified” may still compete and show their strengths and the district retains discretion to hire externally where appropriate. We strongly encourage districts to be transparent and clear about this distinction and the work they are undertaking.</a:t>
            </a:r>
          </a:p>
        </p:txBody>
      </p:sp>
    </p:spTree>
    <p:extLst>
      <p:ext uri="{BB962C8B-B14F-4D97-AF65-F5344CB8AC3E}">
        <p14:creationId xmlns:p14="http://schemas.microsoft.com/office/powerpoint/2010/main" val="27387517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09f7352d-aba9-4f9a-91d6-0173541c863e"/>
  <p:tag name="EE4P_AGENDAWIZARD" val="&lt;ee4p&gt;&lt;layouts&gt;&lt;layout name=&quot;Divider Agenda&quot; id=&quot;311_8&quot;&gt;&lt;standard&gt;&lt;textframe horizontalAnchor=&quot;1&quot; marginBottom=&quot;0&quot; marginLeft=&quot;0&quot; marginRight=&quot;0&quot; marginTop=&quot;0&quot; orientation=&quot;1&quot; verticalAnchor=&quot;1&quot; /&gt;&lt;font name=&quot;Gill Sans Nova&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1&quot; fontSize=&quot;18&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36.11324&quot; /&gt;&lt;column field=&quot;topic&quot; label=&quot;Topic&quot; leftSpacing=&quot;20.26417&quot; rightDistribute=&quot;1&quot; dock=&quot;1&quot; /&gt;&lt;column field=&quot;responsible&quot; label=&quot;Responsible&quot; visible=&quot;0&quot; checked=&quot;0&quot; leftSpacing=&quot;10&quot; rightDistribute=&quot;1&quot; dock=&quot;1&quot; /&gt;&lt;column field=&quot;freecolumn&quot; label=&quot;&quot; visible=&quot;1&quot; checked=&quot;1&quot; leftSpacing=&quot;10&quot; rightDistribute=&quot;1&quot; dock=&quot;1&quot; /&gt;&lt;column field=&quot;timeslot&quot; label=&quot;TIME ALLOTMENT&quot; visible=&quot;1&quot; checked=&quot;1&quot; leftSpacing=&quot;10&quot; rightSpacing=&quot;0&quot; dock=&quot;2&quot; /&gt;&lt;column field=&quot;pageno&quot; label=&quot;PAGE&quot; visible=&quot;1&quot; checked=&quot;0&quot; leftSpacing=&quot;10&quot; rightSpacing=&quot;0&quot; dock=&quot;2&quot; /&gt;&lt;/columns&gt;&lt;cultures&gt;&lt;culture name=&quot;en&quot; /&gt;&lt;/cultures&gt;&lt;position left=&quot;42&quot; top=&quot;97.2&quot; width=&quot;635.9998&quot; height=&quot;394.8&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Single=&quot;Standard¦Blank&quot; customLayoutName=&quot;Sections¦Section Break&quot; customLayoutIndex=&quot;&quot; showBreak=&quot;1&quot; singleAgendaSlideSelected=&quot;0&quot; backupSlideTitle=&quot;Backup: %agendaName%&quot; topMargin=&quot;0&quot; leftMargin=&quot;0&quot; allowedLevels=&quot;1&quot; itemNoFormats=&quot;{1}¦{1}.{2}¦{3:alphaLC}¦{3:alphaLC}.{4:alphaLC}&quot; twelveHourFormatId=&quot;3&quot; /&gt;&lt;!-- Headings --&gt;&lt;headings bottomMinSpacing=&quot;5&quot; bottomMaxSpacing=&quot;5&quot;&gt;&lt;element field=&quot;timeslot&quot; type=&quot;autoshape&quot; autoShapeType=&quot;1&quot; slideType=&quot;1&quot;&gt;&lt;position width=&quot;150&quot; left=&quot;agendaWidth-150&quot; /&gt;&lt;paragraphformat alignment=&quot;3&quot; /&gt;&lt;font name=&quot;Gill Sans Nova SemiBold&quot; size=&quot;10&quot; color=&quot;#a6a6a6&quot; caps=&quot;2&quot; /&gt;&lt;/element&gt;&lt;/headings&gt;&lt;cases&gt;&lt;case level=&quot;1&quot; single=&quot;1&quot; selected=&quot;0&quot; break=&quot;0&quot; topMinSpacing=&quot;0&quot; topMaxSpacing=&quot;0&quot; bottomMinSpacing=&quot;10&quot; bottomMaxSpacing=&quot;25&quot;&gt;&lt;element field=&quot;itemno&quot; type=&quot;autoshape&quot; autoShapeType=&quot;9&quot; indent=&quot;(level-1)*36.11324*scale*fontScale&quot; indentType=&quot;1&quot;&gt;&lt;position height=&quot;36.11324*scale*fontScale&quot; top=&quot;(itemHeight-itemSingleHeight)/2&quot; /&gt;&lt;textframe marginLeft=&quot;6&quot; marginRight=&quot;6&quot; verticalAnchor=&quot;3&quot; /&gt;&lt;paragraphformat alignment=&quot;2&quot; /&gt;&lt;fill foreColor=&quot;#ffffff&quot; visible=&quot;1&quot; /&gt;&lt;line foreColor=&quot;5&quot; visible=&quot;1&quot; weight=&quot;2&quot; /&gt;&lt;font name=&quot;Gill Sans Nova Medium&quot; color=&quot;13&quot; /&gt;&lt;/element&gt;&lt;element field=&quot;topic&quot; type=&quot;autoshape&quot; autoShapeType=&quot;1&quot; indent=&quot;(level-1)*36.11324*scale*fontScale&quot; indentType=&quot;2&quot;&gt;&lt;paragraphformat alignment=&quot;1&quot; /&gt;&lt;textframe verticalAnchor=&quot;3&quot; /&gt;&lt;/element&gt;&lt;element field=&quot;responsible&quot; type=&quot;autoshape&quot; autoShapeType=&quot;1&quot; indent=&quot;(level-1)*36.11324*scale*fontScale&quot; indentType=&quot;1&quot;&gt;&lt;paragraphformat alignment=&quot;1&quot; /&gt;&lt;textframe verticalAnchor=&quot;3&quot; /&gt;&lt;/element&gt;&lt;element field=&quot;freecolumn&quot; type=&quot;autoshape&quot; autoShapeType=&quot;1&quot; indent=&quot;(level-1)*36.11324*scale*fontScale&quot; indentType=&quot;1&quot;&gt;&lt;textframe verticalAnchor=&quot;3&quot; /&gt;&lt;paragraphformat alignment=&quot;1&quot; /&gt;&lt;/element&gt;&lt;element field=&quot;timeslot&quot; type=&quot;autoshape&quot; autoShapeType=&quot;1&quot;&gt;&lt;textframe verticalAnchor=&quot;3&quot; /&gt;&lt;paragraphformat alignment=&quot;3&quot; /&gt;&lt;font name=&quot;Georgia&quot; size=&quot;14&quot; italic=&quot;1&quot; color=&quot;#a6a6a6&quot; /&gt;&lt;/element&gt;&lt;element field=&quot;pageno&quot; type=&quot;autoshape&quot; autoShapeType=&quot;1&quot;&gt;&lt;textframe verticalAnchor=&quot;3&quot; /&gt;&lt;paragraphformat alignment=&quot;3&quot; /&gt;&lt;font name=&quot;Georgia&quot; size=&quot;14&quot; italic=&quot;1&quot; color=&quot;#a6a6a6&quot; /&gt;&lt;/element&gt;&lt;/case&gt;&lt;case level=&quot;1&quot; single=&quot;1&quot; selected=&quot;0&quot; break=&quot;1&quot; topMinSpacing=&quot;0&quot; topMaxSpacing=&quot;0&quot; bottomMinSpacing=&quot;10&quot; bottomMaxSpacing=&quot;25&quot;&gt;&lt;element field=&quot;topic&quot; type=&quot;autoshape&quot; autoShapeType=&quot;1&quot; indent=&quot;(level-1)*36.11324*scale*fontScale&quot; indentType=&quot;2&quot;&gt;&lt;paragraphformat alignment=&quot;1&quot; /&gt;&lt;textframe verticalAnchor=&quot;3&quot; /&gt;&lt;font italic=&quot;1&quot; /&gt;&lt;/element&gt;&lt;element field=&quot;responsible&quot; type=&quot;autoshape&quot; autoShapeType=&quot;1&quot; indent=&quot;(level-1)*36.11324*scale*fontScale&quot; indentType=&quot;1&quot;&gt;&lt;paragraphformat alignment=&quot;1&quot; /&gt;&lt;textframe verticalAnchor=&quot;3&quot; /&gt;&lt;font italic=&quot;1&quot; /&gt;&lt;/element&gt;&lt;element field=&quot;freecolumn&quot; type=&quot;autoshape&quot; autoShapeType=&quot;1&quot; indent=&quot;(level-1)*36.11324*scale*fontScale&quot; indentType=&quot;1&quot;&gt;&lt;paragraphformat alignment=&quot;1&quot; /&gt;&lt;textframe verticalAnchor=&quot;3&quot; /&gt;&lt;font italic=&quot;1&quot; /&gt;&lt;/element&gt;&lt;element field=&quot;timeslot&quot; type=&quot;autoshape&quot; autoShapeType=&quot;1&quot;&gt;&lt;paragraphformat alignment=&quot;3&quot; /&gt;&lt;textframe verticalAnchor=&quot;3&quot; /&gt;&lt;font name=&quot;Georgia&quot; size=&quot;14&quot; italic=&quot;1&quot; color=&quot;#a6a6a6&quot; /&gt;&lt;/element&gt;&lt;element field=&quot;pageno&quot; type=&quot;autoshape&quot; autoShapeType=&quot;1&quot;&gt;&lt;paragraphformat alignment=&quot;3&quot; /&gt;&lt;textframe verticalAnchor=&quot;3&quot; /&gt;&lt;font name=&quot;Georgia&quot; size=&quot;14&quot; italic=&quot;1&quot; color=&quot;#a6a6a6&quot; /&gt;&lt;/element&gt;&lt;/case&gt;&lt;/cases&gt;&lt;elements&gt;&lt;element type=&quot;textbox&quot; zOrder=&quot;1&quot; value=&quot;%topic%&quot; slideType=&quot;2&quot;&gt;&lt;position left=&quot;0&quot; top=&quot;16.79992&quot; width=&quot;366&quot; height=&quot;42.1678&quot; autoshape=&quot;1&quot; rotation=&quot;0&quot; /&gt;&lt;font name=&quot;Gill Sans Nova Medium&quot; size=&quot;32&quot; bold=&quot;0&quot; italic=&quot;0&quot; underlineStyle=&quot;0&quot; color=&quot;14&quot; spacing=&quot;0&quot; kerning=&quot;12&quot; /&gt;&lt;textframe horizontalAnchor=&quot;1&quot; verticalAnchor=&quot;1&quot; orientation=&quot;1&quot; wordWrap=&quot;1&quot; autoSize=&quot;1&quot; marginLeft=&quot;0&quot; marginRight=&quot;0&quot; marginTop=&quot;7.2&quot; marginBottom=&quot;0&quot; /&gt;&lt;paragraphformat alignment=&quot;1&quot; lineRuleBefore=&quot;0&quot; lineRuleWithin=&quot;1&quot; lineRuleAfter=&quot;0&quot; spaceBefore=&quot;10&quot; spaceWithin=&quot;0.9&quot; spaceAfter=&quot;0&quot; /&gt;&lt;/element&gt;&lt;element type=&quot;textbox&quot; zOrder=&quot;1&quot; value=&quot;%freeColumn%&quot; slideType=&quot;2&quot;&gt;&lt;position left=&quot;0&quot; top=&quot;5.894567&quot; width=&quot;366&quot; height=&quot;10.90543&quot; autoshape=&quot;1&quot; rotation=&quot;0&quot; /&gt;&lt;font name=&quot;Georgia&quot; size=&quot;10&quot; bold=&quot;0&quot; italic=&quot;1&quot; underlineStyle=&quot;0&quot; color=&quot;14&quot; spacing=&quot;0&quot; kerning=&quot;12&quot; /&gt;&lt;textframe horizontalAnchor=&quot;1&quot; verticalAnchor=&quot;4&quot; orientation=&quot;1&quot; wordWrap=&quot;1&quot; autoSize=&quot;1&quot; marginLeft=&quot;0&quot; marginRight=&quot;0&quot; marginTop=&quot;0&quot; marginBottom=&quot;0&quot; /&gt;&lt;paragraphformat alignment=&quot;1&quot; lineRuleBefore=&quot;0&quot; lineRuleWithin=&quot;1&quot; lineRuleAfter=&quot;0&quot; spaceBefore=&quot;10&quot; spaceWithin=&quot;0.9&quot; spaceAfter=&quot;0&quot; /&gt;&lt;/element&gt;&lt;element type=&quot;textbox&quot; zOrder=&quot;1&quot; value=&quot;%itemNoString%&quot; slideType=&quot;2&quot;&gt;&lt;position left=&quot;594&quot; top=&quot;198.1623&quot; width=&quot;83.01701&quot; height=&quot;58.08&quot; autoshape=&quot;1&quot; rotation=&quot;0&quot; /&gt;&lt;font name=&quot;Gill Sans Nova Medium&quot; size=&quot;56&quot; bold=&quot;1&quot; italic=&quot;0&quot; underlineStyle=&quot;0&quot; color=&quot;5&quot; spacing=&quot;0&quot; kerning=&quot;12&quot; /&gt;&lt;textframe horizontalAnchor=&quot;1&quot; verticalAnchor=&quot;1&quot; orientation=&quot;1&quot; wordWrap=&quot;1&quot; autoSize=&quot;2&quot; marginLeft=&quot;7.2&quot; marginRight=&quot;7.2&quot; marginTop=&quot;3.6&quot; marginBottom=&quot;3.6&quot; /&gt;&lt;paragraphformat alignment=&quot;1&quot; lineRuleBefore=&quot;0&quot; lineRuleWithin=&quot;1&quot; lineRuleAfter=&quot;0&quot; spaceBefore=&quot;10&quot; spaceWithin=&quot;0.9&quot; spaceAfter=&quot;0&quot; /&gt;&lt;/element&gt;&lt;element type=&quot;line&quot; headingsMode=&quot;1&quot; value=&quot;&quot; slideType=&quot;1&quot;&gt;&lt;position left=&quot;agendaWidth-150&quot; top=&quot;headingHeight+headingBottomSpacing/2&quot; width=&quot;150&quot; height=&quot;0&quot; /&gt;&lt;line style=&quot;1&quot; dashStyle=&quot;1&quot; foreColor=&quot;5&quot; transparency=&quot;0&quot; visible=&quot;1&quot; weight=&quot;0.5&quot; /&gt;&lt;shadow visible=&quot;0&quot; /&gt;&lt;/element&gt;&lt;/elements&gt;&lt;/layout&gt;&lt;/layouts&gt;&lt;contents&gt;&lt;agenda name=&quot;New Agenda&quot; title=&quot;Agenda&quot; subtitle=&quot;&quot; sizingModeId=&quot;1&quot; fontSize=&quot;18&quot; fontSizeAuto=&quot;1&quot; startTime=&quot;540&quot; timeFormatId=&quot;2&quot; startItemNo=&quot;1&quot; createSingleAgendaSlide=&quot;1&quot; createSeparatingSlides=&quot;1&quot; createBackupSlide=&quot;1&quot; layoutId=&quot;311_8&quot; culture=&quot;&quot; hideSeparatingSlides=&quot;0&quot; createSections=&quot;0&quot; singleSlideId=&quot;16fa4bf9-aaad-48f8-8d74-96b60c4aa8b4&quot; backupSlideId=&quot;fb24f9b9-d314-41da-8726-6f1936a0d19e&quot;&gt;&lt;columns leftSpacing=&quot;0&quot; rightSpacing=&quot;0&quot;&gt;&lt;column field=&quot;itemno&quot; label=&quot;No.&quot; checked=&quot;1&quot; leftSpacing=&quot;0&quot; rightSpacing=&quot;0&quot; dock=&quot;1&quot; fixedWidth=&quot;36.11324&quot; /&gt;&lt;column field=&quot;topic&quot; label=&quot;Topic&quot; leftSpacing=&quot;20.26417&quot; rightDistribute=&quot;1&quot; dock=&quot;1&quot; rightSpacing=&quot;208.8701&quot; /&gt;&lt;column field=&quot;responsible&quot; label=&quot;Responsible&quot; visible=&quot;0&quot; checked=&quot;0&quot; leftSpacing=&quot;10&quot; rightDistribute=&quot;1&quot; dock=&quot;1&quot; /&gt;&lt;column field=&quot;freecolumn&quot; label=&quot;&quot; visible=&quot;1&quot; checked=&quot;1&quot; leftSpacing=&quot;10&quot; rightDistribute=&quot;1&quot; dock=&quot;1&quot; rightSpacing=&quot;208.8701&quot; /&gt;&lt;column field=&quot;timeslot&quot; label=&quot;TIME ALLOTMENT&quot; visible=&quot;1&quot; checked=&quot;1&quot; leftSpacing=&quot;10&quot; rightSpacing=&quot;0&quot; dock=&quot;2&quot; /&gt;&lt;column field=&quot;pageno&quot; label=&quot;PAGE&quot; visible=&quot;1&quot; checked=&quot;0&quot; leftSpacing=&quot;10&quot; rightSpacing=&quot;0&quot; dock=&quot;2&quot; /&gt;&lt;/columns&gt;&lt;items&gt;&lt;item duration=&quot;20&quot; id=&quot;5e2bae34-8c6e-4a27-a0f7-a3a7b0752801&quot; parentId=&quot;&quot; level=&quot;1&quot; generateAgendaSlide=&quot;1&quot; showAgendaItem=&quot;1&quot; isBreak=&quot;0&quot; topic=&quot;&quot; agendaSlideId=&quot;39830d64-83f2-42be-81b0-a75e1b6e32ba&quot; /&gt;&lt;item duration=&quot;15&quot; id=&quot;5b1c04d8-7bc6-459f-8ad7-64ac855ecb44&quot; parentId=&quot;&quot; level=&quot;1&quot; generateAgendaSlide=&quot;1&quot; showAgendaItem=&quot;1&quot; isBreak=&quot;0&quot; topic=&quot;&quot; agendaSlideId=&quot;e02118f8-1711-4802-81df-f9fbf56ff41a&quot; /&gt;&lt;item duration=&quot;10&quot; id=&quot;09fed459-a971-408d-87af-acf305cdffb8&quot; parentId=&quot;&quot; level=&quot;1&quot; generateAgendaSlide=&quot;1&quot; showAgendaItem=&quot;1&quot; isBreak=&quot;0&quot; topic=&quot;&quot; agendaSlideId=&quot;f2fb279f-3254-45af-9a4c-0d28b9074fed&quot; /&gt;&lt;item duration=&quot;10&quot; id=&quot;c9ad8de3-cb47-43b8-9f9b-a58115fa59e2&quot; parentId=&quot;&quot; level=&quot;1&quot; generateAgendaSlide=&quot;1&quot; showAgendaItem=&quot;1&quot; isBreak=&quot;0&quot; topic=&quot;&quot; agendaSlideId=&quot;8e6d1687-e34b-485d-9089-24ce552b2dc7&quot; /&gt;&lt;item duration=&quot;5&quot; id=&quot;44ddb011-2e9b-42db-8541-a4446b658668&quot; parentId=&quot;&quot; level=&quot;1&quot; generateAgendaSlide=&quot;1&quot; showAgendaItem=&quot;1&quot; isBreak=&quot;0&quot; topic=&quot;&quot; agendaSlideId=&quot;668b584a-b752-4170-af4e-85af102d43b4&quot; /&gt;&lt;/items&gt;&lt;/agenda&gt;&lt;/contents&gt;&lt;/ee4p&gt;"/>
  <p:tag name="THINKCELLPRESENTATIONDONOTDELETE" val="&lt;?xml version=&quot;1.0&quot; encoding=&quot;UTF-16&quot; standalone=&quot;yes&quot;?&gt;&lt;root reqver=&quot;28224&quot;&gt;&lt;version val=&quot;3535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5&quot;&gt;&lt;elem m_fUsage=&quot;1.90973790000000009925E+00&quot;&gt;&lt;m_msothmcolidx val=&quot;0&quot;/&gt;&lt;m_rgb r=&quot;C3&quot; g=&quot;C8&quot; b=&quot;DA&quot;/&gt;&lt;/elem&gt;&lt;elem m_fUsage=&quot;1.53899999999999992362E+00&quot;&gt;&lt;m_msothmcolidx val=&quot;0&quot;/&gt;&lt;m_rgb r=&quot;DB&quot; g=&quot;DD&quot; b=&quot;E8&quot;/&gt;&lt;/elem&gt;&lt;elem m_fUsage=&quot;1.43046721000000021107E+00&quot;&gt;&lt;m_msothmcolidx val=&quot;0&quot;/&gt;&lt;m_rgb r=&quot;9A&quot; g=&quot;A4&quot; b=&quot;C3&quot;/&gt;&lt;/elem&gt;&lt;elem m_fUsage=&quot;6.56100000000000127542E-01&quot;&gt;&lt;m_msothmcolidx val=&quot;0&quot;/&gt;&lt;m_rgb r=&quot;79&quot; g=&quot;79&quot; b=&quot;A4&quot;/&gt;&lt;/elem&gt;&lt;elem m_fUsage=&quot;5.90490000000000181402E-01&quot;&gt;&lt;m_msothmcolidx val=&quot;0&quot;/&gt;&lt;m_rgb r=&quot;00&quot; g=&quot;2F&quot; b=&quot;DD&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sncjL3uNSIqJYDZ.3iSh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iZht7f.JnVa_CqlcDbB7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IVWxooBz9H_DC4WissAlw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hSTb7MJZD_UomIg_lnki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3Yh4QxH.fa0wpFqXYN8Jo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0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9.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3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5.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36.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51.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xml><?xml version="1.0" encoding="utf-8"?>
<p:tagLst xmlns:a="http://schemas.openxmlformats.org/drawingml/2006/main" xmlns:r="http://schemas.openxmlformats.org/officeDocument/2006/relationships" xmlns:p="http://schemas.openxmlformats.org/presentationml/2006/main">
  <p:tag name="SHAPENAME" val="5. Sourc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668b584a-b752-4170-af4e-85af102d43b4_FreeColumn"/>
  <p:tag name="EE4P_AGENDAWIZARD_PROPERTIES" val="460.826/341.6529/0.00511811/36.11323"/>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668b584a-b752-4170-af4e-85af102d43b4_Topic"/>
  <p:tag name="EE4P_AGENDAWIZARD_CONTENT" val="/Next steps"/>
  <p:tag name="EE4P_AGENDAWIZARD_PROPERTIES" val="98.3774/341.6529/287.152/36.11323"/>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668b584a-b752-4170-af4e-85af102d43b4_ItemNo"/>
  <p:tag name="EE4P_AGENDAWIZARD_CONTENT" val="/5"/>
  <p:tag name="EE4P_AGENDAWIZARD_PROPERTIES" val="42/341.6529/36.11323/36.11323"/>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8e6d1687-e34b-485d-9089-24ce552b2dc7_FreeColumn"/>
  <p:tag name="EE4P_AGENDAWIZARD_PROPERTIES" val="460.826/280.5397/0.00511811/36.11323"/>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8e6d1687-e34b-485d-9089-24ce552b2dc7_Topic"/>
  <p:tag name="EE4P_AGENDAWIZARD_CONTENT" val="/Align on future meetings"/>
  <p:tag name="EE4P_AGENDAWIZARD_PROPERTIES" val="98.3774/280.5397/287.152/36.11323"/>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8e6d1687-e34b-485d-9089-24ce552b2dc7_ItemNo"/>
  <p:tag name="EE4P_AGENDAWIZARD_CONTENT" val="/4"/>
  <p:tag name="EE4P_AGENDAWIZARD_PROPERTIES" val="42/280.5397/36.11323/36.11323"/>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f2fb279f-3254-45af-9a4c-0d28b9074fed_FreeColumn"/>
  <p:tag name="EE4P_AGENDAWIZARD_PROPERTIES" val="460.826/219.4265/0.00511811/36.11323"/>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f2fb279f-3254-45af-9a4c-0d28b9074fed_Topic"/>
  <p:tag name="EE4P_AGENDAWIZARD_CONTENT" val="/Review VPC Starter Charter"/>
  <p:tag name="EE4P_AGENDAWIZARD_PROPERTIES" val="98.3774/219.4265/287.152/36.11323"/>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f2fb279f-3254-45af-9a4c-0d28b9074fed_ItemNo"/>
  <p:tag name="EE4P_AGENDAWIZARD_CONTENT" val="/3"/>
  <p:tag name="EE4P_AGENDAWIZARD_PROPERTIES" val="42/219.4265/36.11323/36.1132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e02118f8-1711-4802-81df-f9fbf56ff41a_FreeColumn"/>
  <p:tag name="EE4P_AGENDAWIZARD_PROPERTIES" val="460.826/158.3132/0.00511811/36.11323"/>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e02118f8-1711-4802-81df-f9fbf56ff41a_Topic"/>
  <p:tag name="EE4P_AGENDAWIZARD_CONTENT" val="/Discuss purpose of VPC in El Paso ISD"/>
  <p:tag name="EE4P_AGENDAWIZARD_PROPERTIES" val="98.3774/158.3132/287.152/36.11323"/>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e02118f8-1711-4802-81df-f9fbf56ff41a_ItemNo"/>
  <p:tag name="EE4P_AGENDAWIZARD_CONTENT" val="/2"/>
  <p:tag name="EE4P_AGENDAWIZARD_PROPERTIES" val="42/158.3132/36.11323/36.11323"/>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39830d64-83f2-42be-81b0-a75e1b6e32ba_FreeColumn"/>
  <p:tag name="EE4P_AGENDAWIZARD_PROPERTIES" val="460.826/97.2/0.00511811/36.11323"/>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39830d64-83f2-42be-81b0-a75e1b6e32ba_Topic"/>
  <p:tag name="EE4P_AGENDAWIZARD_CONTENT" val="/Introductions"/>
  <p:tag name="EE4P_AGENDAWIZARD_PROPERTIES" val="98.3774/97.2/287.152/36.11323"/>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39830d64-83f2-42be-81b0-a75e1b6e32ba_ItemNo"/>
  <p:tag name="EE4P_AGENDAWIZARD_CONTENT" val="/1"/>
  <p:tag name="EE4P_AGENDAWIZARD_PROPERTIES" val="42/97.2/36.11323/36.11323"/>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0JEnolXiKnW1JSgeMz56Z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U.w6I99kRUB78hiZR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6tXU7uUveq9g_osMqDax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Hk9kxk5nS0IVG1GMGZk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1uiwGVR0m2dx6WJUhIW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_rh4qwUd6L42L8HrdPbu9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9BgeCKDwTZLuUkFYNMa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GkUywn2yXKP8bY.NRzR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rAbZm5aZyMeWRELNqio6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rSm6pmHCuY.SZuleShIM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9RThFCHZ4p6L6889vjS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tKEn17sexAko_5LQEtiB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3vk8Ax8uFDFYwgHGs_Un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rRMcatXBGq3YhT40W1HT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NZBGyF2kWl0Z5CIQGQxE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bhL6UGlrUY1WKwM.xzLE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9UmEF13j2rgUzDhfEAdjz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OBvSZBcJ5__PZOcPZ2Qv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egL4em5xYQGEDWKfALm_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3K76ZBR8Ecnd61VDgYXL3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1EwrwqPPsLk2JqT_xt8b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SaHuCpRmrFn5sPtLgLzL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97z0yXF1QeVFxZpWyqzl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535v6.x38DukU70.Mzv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J1W2bCVESSjCQyTNaqkhE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yOjGJ7GVS7prSRnHGs4r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56ayUVr1SIjszrfuGR8Zj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J1UyfMaaGIygK2K0SZgD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250n4az6CnebkCPFCfbU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7511wA2nKY3NwpLFKJvvJ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_jdHUDjY7vx1J_Znk54Dj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3nomV70F0CXL7HO._4Qdm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7FULMcRCadLp0D_RtHVW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8dPCMsQ5ru.NIxR43_O0o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WSrt2H5cCsOO5To5xykt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GxNNPW49tk22kM6SMBTtc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Ju1beMVTTYQxVDsEqtZO5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cAfdcQ5Zt0IZMXZoULVM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F55PbtTVyIYiG3DgwXz1w"/>
</p:tagLst>
</file>

<file path=ppt/theme/theme1.xml><?xml version="1.0" encoding="utf-8"?>
<a:theme xmlns:a="http://schemas.openxmlformats.org/drawingml/2006/main" name="Sections">
  <a:themeElements>
    <a:clrScheme name="The Holdsworth Center">
      <a:dk1>
        <a:srgbClr val="000000"/>
      </a:dk1>
      <a:lt1>
        <a:srgbClr val="FFFFFF"/>
      </a:lt1>
      <a:dk2>
        <a:srgbClr val="002F6E"/>
      </a:dk2>
      <a:lt2>
        <a:srgbClr val="D5D0C9"/>
      </a:lt2>
      <a:accent1>
        <a:srgbClr val="FEA300"/>
      </a:accent1>
      <a:accent2>
        <a:srgbClr val="FFD9A6"/>
      </a:accent2>
      <a:accent3>
        <a:srgbClr val="69BF48"/>
      </a:accent3>
      <a:accent4>
        <a:srgbClr val="FDC72E"/>
      </a:accent4>
      <a:accent5>
        <a:srgbClr val="776D64"/>
      </a:accent5>
      <a:accent6>
        <a:srgbClr val="F06123"/>
      </a:accent6>
      <a:hlink>
        <a:srgbClr val="328CDF"/>
      </a:hlink>
      <a:folHlink>
        <a:srgbClr val="9BA4C1"/>
      </a:folHlink>
    </a:clrScheme>
    <a:fontScheme name="Custom 24">
      <a:majorFont>
        <a:latin typeface="Gill Sans Nova SemiBold"/>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2" id="{B69C7464-1033-4721-88E0-7D60ACC9EBDB}" vid="{AAA36534-AF5B-461C-85A1-B3C41646A5F9}"/>
    </a:ext>
  </a:extLst>
</a:theme>
</file>

<file path=ppt/theme/theme2.xml><?xml version="1.0" encoding="utf-8"?>
<a:theme xmlns:a="http://schemas.openxmlformats.org/drawingml/2006/main" name="Bullets">
  <a:themeElements>
    <a:clrScheme name="The Holdsworth Center">
      <a:dk1>
        <a:srgbClr val="000000"/>
      </a:dk1>
      <a:lt1>
        <a:srgbClr val="FFFFFF"/>
      </a:lt1>
      <a:dk2>
        <a:srgbClr val="002F6E"/>
      </a:dk2>
      <a:lt2>
        <a:srgbClr val="D5D0C9"/>
      </a:lt2>
      <a:accent1>
        <a:srgbClr val="FEA300"/>
      </a:accent1>
      <a:accent2>
        <a:srgbClr val="FFD9A6"/>
      </a:accent2>
      <a:accent3>
        <a:srgbClr val="69BF48"/>
      </a:accent3>
      <a:accent4>
        <a:srgbClr val="FDC72E"/>
      </a:accent4>
      <a:accent5>
        <a:srgbClr val="776D64"/>
      </a:accent5>
      <a:accent6>
        <a:srgbClr val="F06123"/>
      </a:accent6>
      <a:hlink>
        <a:srgbClr val="328CDF"/>
      </a:hlink>
      <a:folHlink>
        <a:srgbClr val="9BA4C1"/>
      </a:folHlink>
    </a:clrScheme>
    <a:fontScheme name="Custom 25">
      <a:majorFont>
        <a:latin typeface="Gill Sans Nova SemiBold"/>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B69C7464-1033-4721-88E0-7D60ACC9EBDB}" vid="{3BE68181-D3C0-46BA-8864-E28A7FD78D66}"/>
    </a:ext>
  </a:extLst>
</a:theme>
</file>

<file path=ppt/theme/theme3.xml><?xml version="1.0" encoding="utf-8"?>
<a:theme xmlns:a="http://schemas.openxmlformats.org/drawingml/2006/main" name="Standard">
  <a:themeElements>
    <a:clrScheme name="The Holdsworth Center">
      <a:dk1>
        <a:srgbClr val="000000"/>
      </a:dk1>
      <a:lt1>
        <a:srgbClr val="FFFFFF"/>
      </a:lt1>
      <a:dk2>
        <a:srgbClr val="002F6E"/>
      </a:dk2>
      <a:lt2>
        <a:srgbClr val="D5D0C9"/>
      </a:lt2>
      <a:accent1>
        <a:srgbClr val="FEA300"/>
      </a:accent1>
      <a:accent2>
        <a:srgbClr val="FFD9A6"/>
      </a:accent2>
      <a:accent3>
        <a:srgbClr val="69BF48"/>
      </a:accent3>
      <a:accent4>
        <a:srgbClr val="FDC72E"/>
      </a:accent4>
      <a:accent5>
        <a:srgbClr val="776D64"/>
      </a:accent5>
      <a:accent6>
        <a:srgbClr val="F06123"/>
      </a:accent6>
      <a:hlink>
        <a:srgbClr val="328CDF"/>
      </a:hlink>
      <a:folHlink>
        <a:srgbClr val="9BA4C1"/>
      </a:folHlink>
    </a:clrScheme>
    <a:fontScheme name="Custom 26">
      <a:majorFont>
        <a:latin typeface="Gill Sans Nova SemiBold"/>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2" id="{B69C7464-1033-4721-88E0-7D60ACC9EBDB}" vid="{B50BF0D6-0791-456B-92A4-4A3A5E7225BB}"/>
    </a:ext>
  </a:extLst>
</a:theme>
</file>

<file path=ppt/theme/theme4.xml><?xml version="1.0" encoding="utf-8"?>
<a:theme xmlns:a="http://schemas.openxmlformats.org/drawingml/2006/main" name="Image Right">
  <a:themeElements>
    <a:clrScheme name="The Holdsworth Center">
      <a:dk1>
        <a:srgbClr val="000000"/>
      </a:dk1>
      <a:lt1>
        <a:srgbClr val="FFFFFF"/>
      </a:lt1>
      <a:dk2>
        <a:srgbClr val="002F6E"/>
      </a:dk2>
      <a:lt2>
        <a:srgbClr val="D5D0C9"/>
      </a:lt2>
      <a:accent1>
        <a:srgbClr val="FEA300"/>
      </a:accent1>
      <a:accent2>
        <a:srgbClr val="FFD9A6"/>
      </a:accent2>
      <a:accent3>
        <a:srgbClr val="69BF48"/>
      </a:accent3>
      <a:accent4>
        <a:srgbClr val="FDC72E"/>
      </a:accent4>
      <a:accent5>
        <a:srgbClr val="776D64"/>
      </a:accent5>
      <a:accent6>
        <a:srgbClr val="F06123"/>
      </a:accent6>
      <a:hlink>
        <a:srgbClr val="328CDF"/>
      </a:hlink>
      <a:folHlink>
        <a:srgbClr val="9BA4C1"/>
      </a:folHlink>
    </a:clrScheme>
    <a:fontScheme name="Custom 28">
      <a:majorFont>
        <a:latin typeface="Gill Sans Nova SemiBold"/>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B69C7464-1033-4721-88E0-7D60ACC9EBDB}" vid="{A0F73B4E-3857-45F6-84A4-5417CA4E9D11}"/>
    </a:ext>
  </a:extLst>
</a:theme>
</file>

<file path=ppt/theme/theme5.xml><?xml version="1.0" encoding="utf-8"?>
<a:theme xmlns:a="http://schemas.openxmlformats.org/drawingml/2006/main" name="Image Left">
  <a:themeElements>
    <a:clrScheme name="The Holdsworth Center">
      <a:dk1>
        <a:srgbClr val="000000"/>
      </a:dk1>
      <a:lt1>
        <a:srgbClr val="FFFFFF"/>
      </a:lt1>
      <a:dk2>
        <a:srgbClr val="002F6E"/>
      </a:dk2>
      <a:lt2>
        <a:srgbClr val="D5D0C9"/>
      </a:lt2>
      <a:accent1>
        <a:srgbClr val="FEA300"/>
      </a:accent1>
      <a:accent2>
        <a:srgbClr val="FFD9A6"/>
      </a:accent2>
      <a:accent3>
        <a:srgbClr val="69BF48"/>
      </a:accent3>
      <a:accent4>
        <a:srgbClr val="FDC72E"/>
      </a:accent4>
      <a:accent5>
        <a:srgbClr val="776D64"/>
      </a:accent5>
      <a:accent6>
        <a:srgbClr val="F06123"/>
      </a:accent6>
      <a:hlink>
        <a:srgbClr val="328CDF"/>
      </a:hlink>
      <a:folHlink>
        <a:srgbClr val="9BA4C1"/>
      </a:folHlink>
    </a:clrScheme>
    <a:fontScheme name="Custom 29">
      <a:majorFont>
        <a:latin typeface="Gill Sans Nova SemiBold"/>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B69C7464-1033-4721-88E0-7D60ACC9EBDB}" vid="{A78F06E3-218F-40DC-8EEE-808E3A60A6D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7E298A983814E4AA2DD36779EAF215D" ma:contentTypeVersion="20" ma:contentTypeDescription="Create a new document." ma:contentTypeScope="" ma:versionID="b32701b100d42616d10f5f9fcddd71aa">
  <xsd:schema xmlns:xsd="http://www.w3.org/2001/XMLSchema" xmlns:xs="http://www.w3.org/2001/XMLSchema" xmlns:p="http://schemas.microsoft.com/office/2006/metadata/properties" xmlns:ns1="http://schemas.microsoft.com/sharepoint/v3" xmlns:ns2="552bc956-0615-4e2c-958f-be013f302ac2" xmlns:ns3="c1ac16ba-805a-4917-80cd-1ff66b60ff11" targetNamespace="http://schemas.microsoft.com/office/2006/metadata/properties" ma:root="true" ma:fieldsID="27489b1970d5162207f5adf308c10bcf" ns1:_="" ns2:_="" ns3:_="">
    <xsd:import namespace="http://schemas.microsoft.com/sharepoint/v3"/>
    <xsd:import namespace="552bc956-0615-4e2c-958f-be013f302ac2"/>
    <xsd:import namespace="c1ac16ba-805a-4917-80cd-1ff66b60ff1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element ref="ns1:_ip_UnifiedCompliancePolicyProperties" minOccurs="0"/>
                <xsd:element ref="ns1:_ip_UnifiedCompliancePolicyUIAction"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5" nillable="true" ma:displayName="Unified Compliance Policy Properties" ma:hidden="true" ma:internalName="_ip_UnifiedCompliancePolicyProperties">
      <xsd:simpleType>
        <xsd:restriction base="dms:Note"/>
      </xsd:simpleType>
    </xsd:element>
    <xsd:element name="_ip_UnifiedCompliancePolicyUIAction" ma:index="2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52bc956-0615-4e2c-958f-be013f302ac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23" nillable="true" ma:displayName="Taxonomy Catch All Column" ma:hidden="true" ma:list="{65628ee8-6df6-4873-b9c0-4cde72821fa7}" ma:internalName="TaxCatchAll" ma:showField="CatchAllData" ma:web="552bc956-0615-4e2c-958f-be013f302ac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1ac16ba-805a-4917-80cd-1ff66b60ff11"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769afed-4f23-47ae-9dad-2ff1c3c5698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52bc956-0615-4e2c-958f-be013f302ac2" xsi:nil="true"/>
    <_ip_UnifiedCompliancePolicyUIAction xmlns="http://schemas.microsoft.com/sharepoint/v3" xsi:nil="true"/>
    <_ip_UnifiedCompliancePolicyProperties xmlns="http://schemas.microsoft.com/sharepoint/v3" xsi:nil="true"/>
    <lcf76f155ced4ddcb4097134ff3c332f xmlns="c1ac16ba-805a-4917-80cd-1ff66b60ff11">
      <Terms xmlns="http://schemas.microsoft.com/office/infopath/2007/PartnerControls"/>
    </lcf76f155ced4ddcb4097134ff3c332f>
    <SharedWithUsers xmlns="552bc956-0615-4e2c-958f-be013f302ac2">
      <UserInfo>
        <DisplayName>Manuel Olguin</DisplayName>
        <AccountId>566</AccountId>
        <AccountType/>
      </UserInfo>
    </SharedWithUsers>
  </documentManagement>
</p:properties>
</file>

<file path=customXml/itemProps1.xml><?xml version="1.0" encoding="utf-8"?>
<ds:datastoreItem xmlns:ds="http://schemas.openxmlformats.org/officeDocument/2006/customXml" ds:itemID="{7AEF7057-F8E7-49BC-95F0-58189BFE31DF}">
  <ds:schemaRefs>
    <ds:schemaRef ds:uri="http://schemas.microsoft.com/sharepoint/v3/contenttype/forms"/>
  </ds:schemaRefs>
</ds:datastoreItem>
</file>

<file path=customXml/itemProps2.xml><?xml version="1.0" encoding="utf-8"?>
<ds:datastoreItem xmlns:ds="http://schemas.openxmlformats.org/officeDocument/2006/customXml" ds:itemID="{4E319906-183F-4FEA-9EC7-71F4BC352E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52bc956-0615-4e2c-958f-be013f302ac2"/>
    <ds:schemaRef ds:uri="c1ac16ba-805a-4917-80cd-1ff66b60ff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2827765-5C2E-4298-9C69-79A8B635BD80}">
  <ds:schemaRefs>
    <ds:schemaRef ds:uri="http://purl.org/dc/elements/1.1/"/>
    <ds:schemaRef ds:uri="http://schemas.microsoft.com/office/infopath/2007/PartnerControls"/>
    <ds:schemaRef ds:uri="http://purl.org/dc/dcmitype/"/>
    <ds:schemaRef ds:uri="http://purl.org/dc/terms/"/>
    <ds:schemaRef ds:uri="http://schemas.openxmlformats.org/package/2006/metadata/core-properties"/>
    <ds:schemaRef ds:uri="http://www.w3.org/XML/1998/namespace"/>
    <ds:schemaRef ds:uri="552bc956-0615-4e2c-958f-be013f302ac2"/>
    <ds:schemaRef ds:uri="http://schemas.microsoft.com/office/2006/documentManagement/types"/>
    <ds:schemaRef ds:uri="c1ac16ba-805a-4917-80cd-1ff66b60ff11"/>
    <ds:schemaRef ds:uri="http://schemas.microsoft.com/sharepoint/v3"/>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Wide Slide HWC Template</Template>
  <TotalTime>41456</TotalTime>
  <Words>5889</Words>
  <Application>Microsoft Office PowerPoint</Application>
  <PresentationFormat>Widescreen</PresentationFormat>
  <Paragraphs>482</Paragraphs>
  <Slides>38</Slides>
  <Notes>3</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54" baseType="lpstr">
      <vt:lpstr>Arial</vt:lpstr>
      <vt:lpstr>Calibri</vt:lpstr>
      <vt:lpstr>Courier New</vt:lpstr>
      <vt:lpstr>Georgia</vt:lpstr>
      <vt:lpstr>Gill Sans</vt:lpstr>
      <vt:lpstr>Gill Sans Nova</vt:lpstr>
      <vt:lpstr>Gill Sans Nova Medium</vt:lpstr>
      <vt:lpstr>Gill Sans Nova SemiBold</vt:lpstr>
      <vt:lpstr>Segoe UI</vt:lpstr>
      <vt:lpstr>Wingdings</vt:lpstr>
      <vt:lpstr>Sections</vt:lpstr>
      <vt:lpstr>Bullets</vt:lpstr>
      <vt:lpstr>Standard</vt:lpstr>
      <vt:lpstr>Image Right</vt:lpstr>
      <vt:lpstr>Image Left</vt:lpstr>
      <vt:lpstr>think-cell Slide</vt:lpstr>
      <vt:lpstr>The Leadership Portal</vt:lpstr>
      <vt:lpstr>Welcome!</vt:lpstr>
      <vt:lpstr>Contents of the toolkit</vt:lpstr>
      <vt:lpstr>PowerPoint Presentation</vt:lpstr>
      <vt:lpstr>To complete the Vacancy Planning Cycle a school district must engage in three primary activities</vt:lpstr>
      <vt:lpstr>A full Vacancy Planning Cycle spans the academic year, aligning with data availability and the district’s decision-making timelines</vt:lpstr>
      <vt:lpstr>Multiple stakeholder groups hold data and serve functions important to the Vacancy Planning Cycle</vt:lpstr>
      <vt:lpstr>While there are many ways to evaluate bench strength, the Vacancy Planning Cycle centers around a single ratio</vt:lpstr>
      <vt:lpstr>It is important that the Vacancy Planning Cycle remain independent of the hiring function</vt:lpstr>
      <vt:lpstr>Let’s take a look at what this process could look like for your district</vt:lpstr>
      <vt:lpstr>PowerPoint Presentation</vt:lpstr>
      <vt:lpstr>The first step in the Vacancy Planning Cycle is getting as clear a picture of your potential vacancies as you are able</vt:lpstr>
      <vt:lpstr>To arrive at answers to these three questions, click through to the Forecast Vacancies page of the Leadership Portal</vt:lpstr>
      <vt:lpstr>Each section of the Forecast page will help to answer one of these questions</vt:lpstr>
      <vt:lpstr>Forecast Vacancies Question 1 | How many principal vacancies can we expect to have in the coming year?</vt:lpstr>
      <vt:lpstr>Forecast Vacancies Question 2 | What are the major drivers of principal vacancies in our district?</vt:lpstr>
      <vt:lpstr>PowerPoint Presentation</vt:lpstr>
      <vt:lpstr>Forecast Vacancies Question 3 (step 1) | Where are these vacancies most likely to occur?</vt:lpstr>
      <vt:lpstr>Forecast Vacancies Question 3 (step 2) | Where are these vacancies most likely to occur?</vt:lpstr>
      <vt:lpstr>Forecast Vacancies Question 3 | Where are these vacancies most likely to occur?</vt:lpstr>
      <vt:lpstr>PowerPoint Presentation</vt:lpstr>
      <vt:lpstr>The second step is identifying the readiness of our Assistant Principals to step into the principal role. </vt:lpstr>
      <vt:lpstr>To begin a conversation around these questions, start by clicking through to the Identify Leaders page of the Leadership Portal</vt:lpstr>
      <vt:lpstr>Identify Leaders question 1 | How big is our bench of qualified leaders?</vt:lpstr>
      <vt:lpstr>Identify Leaders question 2 | Who has high potential to be successful as a principal with some focused development? </vt:lpstr>
      <vt:lpstr>PowerPoint Presentation</vt:lpstr>
      <vt:lpstr>Identify Leaders question 2 | Who has high potential to be successful as a principal with some focused development?</vt:lpstr>
      <vt:lpstr>Identify Leaders question 3 | Who aspires to be a principal?</vt:lpstr>
      <vt:lpstr>Identify Leaders | Our current bench</vt:lpstr>
      <vt:lpstr>PowerPoint Presentation</vt:lpstr>
      <vt:lpstr>The third step of Vacancy Planning is investing in and developing those you have identified</vt:lpstr>
      <vt:lpstr>Invest and Develop question 1 | What are the leadership development opportunities we currently provide in our district?</vt:lpstr>
      <vt:lpstr>Invest and Develop question 2 | What needs is each opportunity best positioned to address? </vt:lpstr>
      <vt:lpstr>Invest and Develop question 3 | What opportunities are the best fit for addressing each individual’s development needs? </vt:lpstr>
      <vt:lpstr>PowerPoint Presentation</vt:lpstr>
      <vt:lpstr>What does success look like? | Implementation of a vacancy planning cycle should result in…</vt:lpstr>
      <vt:lpstr>Where do we go next?</vt:lpstr>
      <vt:lpstr>Visit our website for more ideas about how to develop leadership and recommended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eadership Portal</dc:title>
  <dc:creator>Manuel Olguin</dc:creator>
  <cp:lastModifiedBy>Jason Sierra</cp:lastModifiedBy>
  <cp:revision>4</cp:revision>
  <dcterms:created xsi:type="dcterms:W3CDTF">2024-04-30T16:21:20Z</dcterms:created>
  <dcterms:modified xsi:type="dcterms:W3CDTF">2024-07-30T14:0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E298A983814E4AA2DD36779EAF215D</vt:lpwstr>
  </property>
  <property fmtid="{D5CDD505-2E9C-101B-9397-08002B2CF9AE}" pid="3" name="MediaServiceImageTags">
    <vt:lpwstr/>
  </property>
</Properties>
</file>